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61"/>
  </p:notesMasterIdLst>
  <p:sldIdLst>
    <p:sldId id="434" r:id="rId2"/>
    <p:sldId id="432" r:id="rId3"/>
    <p:sldId id="433" r:id="rId4"/>
    <p:sldId id="412" r:id="rId5"/>
    <p:sldId id="398" r:id="rId6"/>
    <p:sldId id="459" r:id="rId7"/>
    <p:sldId id="461" r:id="rId8"/>
    <p:sldId id="465" r:id="rId9"/>
    <p:sldId id="463" r:id="rId10"/>
    <p:sldId id="464" r:id="rId11"/>
    <p:sldId id="462" r:id="rId12"/>
    <p:sldId id="460" r:id="rId13"/>
    <p:sldId id="399" r:id="rId14"/>
    <p:sldId id="404" r:id="rId15"/>
    <p:sldId id="403" r:id="rId16"/>
    <p:sldId id="453" r:id="rId17"/>
    <p:sldId id="454" r:id="rId18"/>
    <p:sldId id="455" r:id="rId19"/>
    <p:sldId id="456" r:id="rId20"/>
    <p:sldId id="443" r:id="rId21"/>
    <p:sldId id="445" r:id="rId22"/>
    <p:sldId id="405" r:id="rId23"/>
    <p:sldId id="447" r:id="rId24"/>
    <p:sldId id="448" r:id="rId25"/>
    <p:sldId id="449" r:id="rId26"/>
    <p:sldId id="450" r:id="rId27"/>
    <p:sldId id="479" r:id="rId28"/>
    <p:sldId id="480" r:id="rId29"/>
    <p:sldId id="406" r:id="rId30"/>
    <p:sldId id="457" r:id="rId31"/>
    <p:sldId id="473" r:id="rId32"/>
    <p:sldId id="474" r:id="rId33"/>
    <p:sldId id="475" r:id="rId34"/>
    <p:sldId id="476" r:id="rId35"/>
    <p:sldId id="477" r:id="rId36"/>
    <p:sldId id="408" r:id="rId37"/>
    <p:sldId id="458" r:id="rId38"/>
    <p:sldId id="407" r:id="rId39"/>
    <p:sldId id="470" r:id="rId40"/>
    <p:sldId id="471" r:id="rId41"/>
    <p:sldId id="481" r:id="rId42"/>
    <p:sldId id="478" r:id="rId43"/>
    <p:sldId id="401" r:id="rId44"/>
    <p:sldId id="402" r:id="rId45"/>
    <p:sldId id="409" r:id="rId46"/>
    <p:sldId id="410" r:id="rId47"/>
    <p:sldId id="418" r:id="rId48"/>
    <p:sldId id="419" r:id="rId49"/>
    <p:sldId id="482" r:id="rId50"/>
    <p:sldId id="483" r:id="rId51"/>
    <p:sldId id="484" r:id="rId52"/>
    <p:sldId id="427" r:id="rId53"/>
    <p:sldId id="428" r:id="rId54"/>
    <p:sldId id="429" r:id="rId55"/>
    <p:sldId id="430" r:id="rId56"/>
    <p:sldId id="451" r:id="rId57"/>
    <p:sldId id="466" r:id="rId58"/>
    <p:sldId id="468" r:id="rId59"/>
    <p:sldId id="469" r:id="rId60"/>
  </p:sldIdLst>
  <p:sldSz cx="9144000" cy="6858000" type="screen4x3"/>
  <p:notesSz cx="6794500" cy="9931400"/>
  <p:custDataLst>
    <p:tags r:id="rId6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FFFF99"/>
    <a:srgbClr val="3366FF"/>
    <a:srgbClr val="00FF00"/>
    <a:srgbClr val="6699FF"/>
    <a:srgbClr val="4ED24E"/>
    <a:srgbClr val="66FF99"/>
    <a:srgbClr val="99FFCC"/>
    <a:srgbClr val="99CCFF"/>
    <a:srgbClr val="E1C2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391" autoAdjust="0"/>
    <p:restoredTop sz="87293" autoAdjust="0"/>
  </p:normalViewPr>
  <p:slideViewPr>
    <p:cSldViewPr showGuides="1">
      <p:cViewPr>
        <p:scale>
          <a:sx n="125" d="100"/>
          <a:sy n="125" d="100"/>
        </p:scale>
        <p:origin x="258" y="-276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4556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10-04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133540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5409219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9813424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8642608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7425654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5278328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4874918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0718781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0080813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0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u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hildren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hteck 90"/>
          <p:cNvSpPr/>
          <p:nvPr/>
        </p:nvSpPr>
        <p:spPr>
          <a:xfrm>
            <a:off x="1547792" y="3788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547792" y="4004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7792" y="357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5864" y="357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</a:t>
            </a:r>
          </a:p>
        </p:txBody>
      </p:sp>
      <p:sp>
        <p:nvSpPr>
          <p:cNvPr id="95" name="Rechteck 94"/>
          <p:cNvSpPr/>
          <p:nvPr/>
        </p:nvSpPr>
        <p:spPr>
          <a:xfrm>
            <a:off x="1547792" y="4220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6" name="Rechteck 95"/>
          <p:cNvSpPr/>
          <p:nvPr/>
        </p:nvSpPr>
        <p:spPr>
          <a:xfrm>
            <a:off x="2195864" y="3788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7" name="Rechteck 96"/>
          <p:cNvSpPr/>
          <p:nvPr/>
        </p:nvSpPr>
        <p:spPr>
          <a:xfrm>
            <a:off x="395664" y="3716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[] =^ ref1[];</a:t>
            </a:r>
          </a:p>
        </p:txBody>
      </p:sp>
      <p:sp>
        <p:nvSpPr>
          <p:cNvPr id="98" name="Rechteck 97"/>
          <p:cNvSpPr/>
          <p:nvPr/>
        </p:nvSpPr>
        <p:spPr>
          <a:xfrm>
            <a:off x="1547792" y="501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7792" y="522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7792" y="479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195864" y="479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1547792" y="544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2195864" y="501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95664" y="501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[] =^^ ref2[];</a:t>
            </a:r>
          </a:p>
        </p:txBody>
      </p:sp>
      <p:sp>
        <p:nvSpPr>
          <p:cNvPr id="105" name="Freihandform 104"/>
          <p:cNvSpPr/>
          <p:nvPr/>
        </p:nvSpPr>
        <p:spPr>
          <a:xfrm>
            <a:off x="3348000" y="148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Freihandform 105"/>
          <p:cNvSpPr/>
          <p:nvPr/>
        </p:nvSpPr>
        <p:spPr>
          <a:xfrm>
            <a:off x="828000" y="38711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8" name="Rechteck 47"/>
          <p:cNvSpPr/>
          <p:nvPr/>
        </p:nvSpPr>
        <p:spPr>
          <a:xfrm>
            <a:off x="396000" y="5228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[] =Hu;</a:t>
            </a:r>
          </a:p>
        </p:txBody>
      </p:sp>
    </p:spTree>
    <p:extLst>
      <p:ext uri="{BB962C8B-B14F-4D97-AF65-F5344CB8AC3E}">
        <p14:creationId xmlns:p14="http://schemas.microsoft.com/office/powerpoint/2010/main" val="17091403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8" name="Rechteck 117"/>
          <p:cNvSpPr/>
          <p:nvPr/>
        </p:nvSpPr>
        <p:spPr>
          <a:xfrm>
            <a:off x="395536" y="126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395536" y="148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547664" y="1628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547664" y="1844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2195736" y="1628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2195736" y="1844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1547664" y="1412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2195736" y="1412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395536" y="162892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</a:t>
            </a:r>
            <a:r>
              <a:rPr lang="en-US" sz="1000" dirty="0" err="1">
                <a:solidFill>
                  <a:schemeClr val="tx1"/>
                </a:solidFill>
              </a:rPr>
              <a:t>b,c</a:t>
            </a:r>
            <a:r>
              <a:rPr lang="en-US" sz="1000" dirty="0">
                <a:solidFill>
                  <a:schemeClr val="tx1"/>
                </a:solidFill>
              </a:rPr>
              <a:t>] = Hi;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547664" y="2060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2195736" y="2060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7944" y="1628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067944" y="1844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716016" y="1628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16" y="1844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4067944" y="1412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4716016" y="1412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4067944" y="2060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4716016" y="2060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347864" y="1700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Rechteck 171"/>
          <p:cNvSpPr/>
          <p:nvPr/>
        </p:nvSpPr>
        <p:spPr>
          <a:xfrm>
            <a:off x="1547664" y="285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547664" y="306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547664" y="263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2195736" y="263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395536" y="2853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[ ] = ^ a[</a:t>
            </a:r>
            <a:r>
              <a:rPr lang="en-US" sz="1000" dirty="0" err="1">
                <a:solidFill>
                  <a:schemeClr val="tx1"/>
                </a:solidFill>
              </a:rPr>
              <a:t>b,c</a:t>
            </a:r>
            <a:r>
              <a:rPr lang="en-US" sz="1000" dirty="0">
                <a:solidFill>
                  <a:schemeClr val="tx1"/>
                </a:solidFill>
              </a:rPr>
              <a:t>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547664" y="328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2195736" y="285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90" name="Freihandform 189"/>
          <p:cNvSpPr/>
          <p:nvPr/>
        </p:nvSpPr>
        <p:spPr>
          <a:xfrm>
            <a:off x="3347864" y="1701023"/>
            <a:ext cx="3240136" cy="158397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086"/>
              <a:gd name="connsiteX1" fmla="*/ 399495 w 692458"/>
              <a:gd name="connsiteY1" fmla="*/ 559293 h 648086"/>
              <a:gd name="connsiteX2" fmla="*/ 633536 w 692458"/>
              <a:gd name="connsiteY2" fmla="*/ 257331 h 648086"/>
              <a:gd name="connsiteX3" fmla="*/ 692458 w 692458"/>
              <a:gd name="connsiteY3" fmla="*/ 0 h 648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086">
                <a:moveTo>
                  <a:pt x="0" y="648070"/>
                </a:moveTo>
                <a:cubicBezTo>
                  <a:pt x="158318" y="648809"/>
                  <a:pt x="293906" y="624416"/>
                  <a:pt x="399495" y="559293"/>
                </a:cubicBezTo>
                <a:cubicBezTo>
                  <a:pt x="505084" y="494170"/>
                  <a:pt x="584709" y="350546"/>
                  <a:pt x="633536" y="257331"/>
                </a:cubicBezTo>
                <a:cubicBezTo>
                  <a:pt x="682363" y="164115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Rechteck 192"/>
          <p:cNvSpPr/>
          <p:nvPr/>
        </p:nvSpPr>
        <p:spPr>
          <a:xfrm>
            <a:off x="6588224" y="1628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6588224" y="1844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7236296" y="1628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96" name="Rechteck 195"/>
          <p:cNvSpPr/>
          <p:nvPr/>
        </p:nvSpPr>
        <p:spPr>
          <a:xfrm>
            <a:off x="7236296" y="1844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97" name="Rechteck 196"/>
          <p:cNvSpPr/>
          <p:nvPr/>
        </p:nvSpPr>
        <p:spPr>
          <a:xfrm>
            <a:off x="6588224" y="1412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98" name="Rechteck 197"/>
          <p:cNvSpPr/>
          <p:nvPr/>
        </p:nvSpPr>
        <p:spPr>
          <a:xfrm>
            <a:off x="7236296" y="1412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6588224" y="2060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0" name="Rechteck 199"/>
          <p:cNvSpPr/>
          <p:nvPr/>
        </p:nvSpPr>
        <p:spPr>
          <a:xfrm>
            <a:off x="7236296" y="2060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1" name="Freihandform 200"/>
          <p:cNvSpPr/>
          <p:nvPr/>
        </p:nvSpPr>
        <p:spPr>
          <a:xfrm>
            <a:off x="5868144" y="1700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hteck 74"/>
          <p:cNvSpPr/>
          <p:nvPr/>
        </p:nvSpPr>
        <p:spPr>
          <a:xfrm>
            <a:off x="396000" y="3860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]</a:t>
            </a:r>
          </a:p>
        </p:txBody>
      </p:sp>
      <p:sp>
        <p:nvSpPr>
          <p:cNvPr id="84" name="Rechteck 83"/>
          <p:cNvSpPr/>
          <p:nvPr/>
        </p:nvSpPr>
        <p:spPr>
          <a:xfrm>
            <a:off x="1547928" y="3860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7928" y="40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96000" y="3860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88" name="Rechteck 87"/>
          <p:cNvSpPr/>
          <p:nvPr/>
        </p:nvSpPr>
        <p:spPr>
          <a:xfrm>
            <a:off x="2196000" y="40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1547928" y="3644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0" name="Rechteck 89"/>
          <p:cNvSpPr/>
          <p:nvPr/>
        </p:nvSpPr>
        <p:spPr>
          <a:xfrm>
            <a:off x="2196000" y="3644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7928" y="42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000" y="42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93" name="Rechteck 92"/>
          <p:cNvSpPr/>
          <p:nvPr/>
        </p:nvSpPr>
        <p:spPr>
          <a:xfrm>
            <a:off x="4067928" y="386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928" y="407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6000" y="386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6" name="Rechteck 95"/>
          <p:cNvSpPr/>
          <p:nvPr/>
        </p:nvSpPr>
        <p:spPr>
          <a:xfrm>
            <a:off x="4067928" y="364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364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99" name="Rechteck 98"/>
          <p:cNvSpPr/>
          <p:nvPr/>
        </p:nvSpPr>
        <p:spPr>
          <a:xfrm>
            <a:off x="4067928" y="429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0" name="Rechteck 99"/>
          <p:cNvSpPr/>
          <p:nvPr/>
        </p:nvSpPr>
        <p:spPr>
          <a:xfrm>
            <a:off x="4716000" y="4077000"/>
            <a:ext cx="1224136" cy="432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1" name="Freihandform 100"/>
          <p:cNvSpPr/>
          <p:nvPr/>
        </p:nvSpPr>
        <p:spPr>
          <a:xfrm>
            <a:off x="3348000" y="3933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ihandform 5"/>
          <p:cNvSpPr/>
          <p:nvPr/>
        </p:nvSpPr>
        <p:spPr>
          <a:xfrm>
            <a:off x="1079888" y="1752600"/>
            <a:ext cx="5782809" cy="2552700"/>
          </a:xfrm>
          <a:custGeom>
            <a:avLst/>
            <a:gdLst>
              <a:gd name="connsiteX0" fmla="*/ 4838184 w 5478744"/>
              <a:gd name="connsiteY0" fmla="*/ 2552700 h 2552700"/>
              <a:gd name="connsiteX1" fmla="*/ 5295384 w 5478744"/>
              <a:gd name="connsiteY1" fmla="*/ 2247900 h 2552700"/>
              <a:gd name="connsiteX2" fmla="*/ 5133459 w 5478744"/>
              <a:gd name="connsiteY2" fmla="*/ 1181100 h 2552700"/>
              <a:gd name="connsiteX3" fmla="*/ 1494909 w 5478744"/>
              <a:gd name="connsiteY3" fmla="*/ 771525 h 2552700"/>
              <a:gd name="connsiteX4" fmla="*/ 113784 w 5478744"/>
              <a:gd name="connsiteY4" fmla="*/ 647700 h 2552700"/>
              <a:gd name="connsiteX5" fmla="*/ 123309 w 5478744"/>
              <a:gd name="connsiteY5" fmla="*/ 123825 h 2552700"/>
              <a:gd name="connsiteX6" fmla="*/ 485259 w 5478744"/>
              <a:gd name="connsiteY6" fmla="*/ 0 h 2552700"/>
              <a:gd name="connsiteX0" fmla="*/ 4838184 w 5602479"/>
              <a:gd name="connsiteY0" fmla="*/ 2552700 h 2552700"/>
              <a:gd name="connsiteX1" fmla="*/ 5523984 w 5602479"/>
              <a:gd name="connsiteY1" fmla="*/ 1914525 h 2552700"/>
              <a:gd name="connsiteX2" fmla="*/ 5133459 w 5602479"/>
              <a:gd name="connsiteY2" fmla="*/ 1181100 h 2552700"/>
              <a:gd name="connsiteX3" fmla="*/ 1494909 w 5602479"/>
              <a:gd name="connsiteY3" fmla="*/ 771525 h 2552700"/>
              <a:gd name="connsiteX4" fmla="*/ 113784 w 5602479"/>
              <a:gd name="connsiteY4" fmla="*/ 647700 h 2552700"/>
              <a:gd name="connsiteX5" fmla="*/ 123309 w 5602479"/>
              <a:gd name="connsiteY5" fmla="*/ 123825 h 2552700"/>
              <a:gd name="connsiteX6" fmla="*/ 485259 w 5602479"/>
              <a:gd name="connsiteY6" fmla="*/ 0 h 2552700"/>
              <a:gd name="connsiteX0" fmla="*/ 4838184 w 5579099"/>
              <a:gd name="connsiteY0" fmla="*/ 2552700 h 2552700"/>
              <a:gd name="connsiteX1" fmla="*/ 5523984 w 5579099"/>
              <a:gd name="connsiteY1" fmla="*/ 1914525 h 2552700"/>
              <a:gd name="connsiteX2" fmla="*/ 5133459 w 5579099"/>
              <a:gd name="connsiteY2" fmla="*/ 1181100 h 2552700"/>
              <a:gd name="connsiteX3" fmla="*/ 1494909 w 5579099"/>
              <a:gd name="connsiteY3" fmla="*/ 771525 h 2552700"/>
              <a:gd name="connsiteX4" fmla="*/ 113784 w 5579099"/>
              <a:gd name="connsiteY4" fmla="*/ 647700 h 2552700"/>
              <a:gd name="connsiteX5" fmla="*/ 123309 w 5579099"/>
              <a:gd name="connsiteY5" fmla="*/ 123825 h 2552700"/>
              <a:gd name="connsiteX6" fmla="*/ 485259 w 5579099"/>
              <a:gd name="connsiteY6" fmla="*/ 0 h 2552700"/>
              <a:gd name="connsiteX0" fmla="*/ 4838184 w 5686387"/>
              <a:gd name="connsiteY0" fmla="*/ 2552700 h 2552700"/>
              <a:gd name="connsiteX1" fmla="*/ 5523984 w 5686387"/>
              <a:gd name="connsiteY1" fmla="*/ 1914525 h 2552700"/>
              <a:gd name="connsiteX2" fmla="*/ 1494909 w 5686387"/>
              <a:gd name="connsiteY2" fmla="*/ 771525 h 2552700"/>
              <a:gd name="connsiteX3" fmla="*/ 113784 w 5686387"/>
              <a:gd name="connsiteY3" fmla="*/ 647700 h 2552700"/>
              <a:gd name="connsiteX4" fmla="*/ 123309 w 5686387"/>
              <a:gd name="connsiteY4" fmla="*/ 123825 h 2552700"/>
              <a:gd name="connsiteX5" fmla="*/ 485259 w 5686387"/>
              <a:gd name="connsiteY5" fmla="*/ 0 h 2552700"/>
              <a:gd name="connsiteX0" fmla="*/ 4838184 w 5703348"/>
              <a:gd name="connsiteY0" fmla="*/ 2552700 h 2552700"/>
              <a:gd name="connsiteX1" fmla="*/ 5543034 w 5703348"/>
              <a:gd name="connsiteY1" fmla="*/ 1409700 h 2552700"/>
              <a:gd name="connsiteX2" fmla="*/ 1494909 w 5703348"/>
              <a:gd name="connsiteY2" fmla="*/ 771525 h 2552700"/>
              <a:gd name="connsiteX3" fmla="*/ 113784 w 5703348"/>
              <a:gd name="connsiteY3" fmla="*/ 647700 h 2552700"/>
              <a:gd name="connsiteX4" fmla="*/ 123309 w 5703348"/>
              <a:gd name="connsiteY4" fmla="*/ 123825 h 2552700"/>
              <a:gd name="connsiteX5" fmla="*/ 485259 w 5703348"/>
              <a:gd name="connsiteY5" fmla="*/ 0 h 2552700"/>
              <a:gd name="connsiteX0" fmla="*/ 4838184 w 5685015"/>
              <a:gd name="connsiteY0" fmla="*/ 2552700 h 2552700"/>
              <a:gd name="connsiteX1" fmla="*/ 5543034 w 5685015"/>
              <a:gd name="connsiteY1" fmla="*/ 1409700 h 2552700"/>
              <a:gd name="connsiteX2" fmla="*/ 1494909 w 5685015"/>
              <a:gd name="connsiteY2" fmla="*/ 771525 h 2552700"/>
              <a:gd name="connsiteX3" fmla="*/ 113784 w 5685015"/>
              <a:gd name="connsiteY3" fmla="*/ 647700 h 2552700"/>
              <a:gd name="connsiteX4" fmla="*/ 123309 w 5685015"/>
              <a:gd name="connsiteY4" fmla="*/ 123825 h 2552700"/>
              <a:gd name="connsiteX5" fmla="*/ 485259 w 5685015"/>
              <a:gd name="connsiteY5" fmla="*/ 0 h 2552700"/>
              <a:gd name="connsiteX0" fmla="*/ 4838184 w 5795380"/>
              <a:gd name="connsiteY0" fmla="*/ 2552700 h 2552700"/>
              <a:gd name="connsiteX1" fmla="*/ 5543034 w 5795380"/>
              <a:gd name="connsiteY1" fmla="*/ 1409700 h 2552700"/>
              <a:gd name="connsiteX2" fmla="*/ 113784 w 5795380"/>
              <a:gd name="connsiteY2" fmla="*/ 647700 h 2552700"/>
              <a:gd name="connsiteX3" fmla="*/ 123309 w 5795380"/>
              <a:gd name="connsiteY3" fmla="*/ 123825 h 2552700"/>
              <a:gd name="connsiteX4" fmla="*/ 485259 w 5795380"/>
              <a:gd name="connsiteY4" fmla="*/ 0 h 2552700"/>
              <a:gd name="connsiteX0" fmla="*/ 4825613 w 5782809"/>
              <a:gd name="connsiteY0" fmla="*/ 2552700 h 2552700"/>
              <a:gd name="connsiteX1" fmla="*/ 5530463 w 5782809"/>
              <a:gd name="connsiteY1" fmla="*/ 1409700 h 2552700"/>
              <a:gd name="connsiteX2" fmla="*/ 101213 w 5782809"/>
              <a:gd name="connsiteY2" fmla="*/ 647700 h 2552700"/>
              <a:gd name="connsiteX3" fmla="*/ 110738 w 5782809"/>
              <a:gd name="connsiteY3" fmla="*/ 123825 h 2552700"/>
              <a:gd name="connsiteX4" fmla="*/ 472688 w 5782809"/>
              <a:gd name="connsiteY4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82809" h="2552700">
                <a:moveTo>
                  <a:pt x="4825613" y="2552700"/>
                </a:moveTo>
                <a:cubicBezTo>
                  <a:pt x="5029607" y="2514600"/>
                  <a:pt x="6317863" y="1727200"/>
                  <a:pt x="5530463" y="1409700"/>
                </a:cubicBezTo>
                <a:cubicBezTo>
                  <a:pt x="4743063" y="1092200"/>
                  <a:pt x="301238" y="917575"/>
                  <a:pt x="101213" y="647700"/>
                </a:cubicBezTo>
                <a:cubicBezTo>
                  <a:pt x="-98812" y="377825"/>
                  <a:pt x="48825" y="231775"/>
                  <a:pt x="110738" y="123825"/>
                </a:cubicBezTo>
                <a:cubicBezTo>
                  <a:pt x="172651" y="15875"/>
                  <a:pt x="322669" y="7937"/>
                  <a:pt x="47268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de-CH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1632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/>
        </p:nvCxnSpPr>
        <p:spPr>
          <a:xfrm>
            <a:off x="683568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hteck 76"/>
          <p:cNvSpPr/>
          <p:nvPr/>
        </p:nvSpPr>
        <p:spPr>
          <a:xfrm>
            <a:off x="323528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79" name="Rechteck 78"/>
          <p:cNvSpPr/>
          <p:nvPr/>
        </p:nvSpPr>
        <p:spPr>
          <a:xfrm>
            <a:off x="1043608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276872"/>
            <a:ext cx="144016" cy="0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08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70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hteck 107"/>
          <p:cNvSpPr/>
          <p:nvPr/>
        </p:nvSpPr>
        <p:spPr>
          <a:xfrm>
            <a:off x="323528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043608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110" name="Rechteck 109"/>
          <p:cNvSpPr/>
          <p:nvPr/>
        </p:nvSpPr>
        <p:spPr>
          <a:xfrm>
            <a:off x="827584" y="34290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933056"/>
            <a:ext cx="144016" cy="28803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/>
          <p:cNvSpPr/>
          <p:nvPr/>
        </p:nvSpPr>
        <p:spPr>
          <a:xfrm>
            <a:off x="323528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323528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48" name="Gerade Verbindung 147"/>
          <p:cNvCxnSpPr/>
          <p:nvPr/>
        </p:nvCxnSpPr>
        <p:spPr>
          <a:xfrm>
            <a:off x="2267744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148"/>
          <p:cNvCxnSpPr/>
          <p:nvPr/>
        </p:nvCxnSpPr>
        <p:spPr>
          <a:xfrm>
            <a:off x="2195736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1835696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2555776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276872"/>
            <a:ext cx="144016" cy="0"/>
          </a:xfrm>
          <a:prstGeom prst="line">
            <a:avLst/>
          </a:prstGeom>
          <a:ln>
            <a:solidFill>
              <a:srgbClr val="FF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70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159"/>
          <p:cNvCxnSpPr/>
          <p:nvPr/>
        </p:nvCxnSpPr>
        <p:spPr>
          <a:xfrm>
            <a:off x="2195736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/>
          <p:cNvSpPr/>
          <p:nvPr/>
        </p:nvSpPr>
        <p:spPr>
          <a:xfrm>
            <a:off x="1835696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2555776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90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933056"/>
            <a:ext cx="144016" cy="28803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9" name="Gerade Verbindung 208"/>
          <p:cNvCxnSpPr/>
          <p:nvPr/>
        </p:nvCxnSpPr>
        <p:spPr>
          <a:xfrm>
            <a:off x="2195736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209"/>
          <p:cNvCxnSpPr/>
          <p:nvPr/>
        </p:nvCxnSpPr>
        <p:spPr>
          <a:xfrm>
            <a:off x="2195736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echteck 210"/>
          <p:cNvSpPr/>
          <p:nvPr/>
        </p:nvSpPr>
        <p:spPr>
          <a:xfrm>
            <a:off x="1835696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96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Gerade Verbindung 217"/>
          <p:cNvCxnSpPr/>
          <p:nvPr/>
        </p:nvCxnSpPr>
        <p:spPr>
          <a:xfrm>
            <a:off x="3707904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Rechteck 218"/>
          <p:cNvSpPr/>
          <p:nvPr/>
        </p:nvSpPr>
        <p:spPr>
          <a:xfrm>
            <a:off x="3347864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20" name="Rechteck 219"/>
          <p:cNvSpPr/>
          <p:nvPr/>
        </p:nvSpPr>
        <p:spPr>
          <a:xfrm>
            <a:off x="4067944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7944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933056"/>
            <a:ext cx="144016" cy="79208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Gerade Verbindung 228"/>
          <p:cNvCxnSpPr/>
          <p:nvPr/>
        </p:nvCxnSpPr>
        <p:spPr>
          <a:xfrm>
            <a:off x="3707904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Rechteck 229"/>
          <p:cNvSpPr/>
          <p:nvPr/>
        </p:nvSpPr>
        <p:spPr>
          <a:xfrm>
            <a:off x="3347864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4067944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9000"/>
            <a:ext cx="144016" cy="504056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8" name="Gerade Verbindung 237"/>
          <p:cNvCxnSpPr/>
          <p:nvPr/>
        </p:nvCxnSpPr>
        <p:spPr>
          <a:xfrm>
            <a:off x="3707904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Gerade Verbindung 238"/>
          <p:cNvCxnSpPr/>
          <p:nvPr/>
        </p:nvCxnSpPr>
        <p:spPr>
          <a:xfrm>
            <a:off x="3707904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0" name="Rechteck 239"/>
          <p:cNvSpPr/>
          <p:nvPr/>
        </p:nvSpPr>
        <p:spPr>
          <a:xfrm>
            <a:off x="3347864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347864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Gerade Verbindung 245"/>
          <p:cNvCxnSpPr/>
          <p:nvPr/>
        </p:nvCxnSpPr>
        <p:spPr>
          <a:xfrm>
            <a:off x="5220072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hteck 246"/>
          <p:cNvSpPr/>
          <p:nvPr/>
        </p:nvSpPr>
        <p:spPr>
          <a:xfrm>
            <a:off x="48600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48" name="Rechteck 247"/>
          <p:cNvSpPr/>
          <p:nvPr/>
        </p:nvSpPr>
        <p:spPr>
          <a:xfrm>
            <a:off x="5580112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221088"/>
            <a:ext cx="144016" cy="50405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Gerade Verbindung 255"/>
          <p:cNvCxnSpPr/>
          <p:nvPr/>
        </p:nvCxnSpPr>
        <p:spPr>
          <a:xfrm>
            <a:off x="5220072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7" name="Rechteck 256"/>
          <p:cNvSpPr/>
          <p:nvPr/>
        </p:nvSpPr>
        <p:spPr>
          <a:xfrm>
            <a:off x="4860032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58" name="Rechteck 257"/>
          <p:cNvSpPr/>
          <p:nvPr/>
        </p:nvSpPr>
        <p:spPr>
          <a:xfrm>
            <a:off x="5580112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59" name="Rechteck 258"/>
          <p:cNvSpPr/>
          <p:nvPr/>
        </p:nvSpPr>
        <p:spPr>
          <a:xfrm>
            <a:off x="5580112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9000"/>
            <a:ext cx="144016" cy="792088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263"/>
          <p:cNvCxnSpPr/>
          <p:nvPr/>
        </p:nvCxnSpPr>
        <p:spPr>
          <a:xfrm>
            <a:off x="5220072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Gerade Verbindung 264"/>
          <p:cNvCxnSpPr/>
          <p:nvPr/>
        </p:nvCxnSpPr>
        <p:spPr>
          <a:xfrm>
            <a:off x="5220072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/>
          <p:cNvSpPr/>
          <p:nvPr/>
        </p:nvSpPr>
        <p:spPr>
          <a:xfrm>
            <a:off x="4860032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48600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Gerade Verbindung 271"/>
          <p:cNvCxnSpPr/>
          <p:nvPr/>
        </p:nvCxnSpPr>
        <p:spPr>
          <a:xfrm>
            <a:off x="6732240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Rechteck 272"/>
          <p:cNvSpPr/>
          <p:nvPr/>
        </p:nvSpPr>
        <p:spPr>
          <a:xfrm>
            <a:off x="6372200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74" name="Rechteck 273"/>
          <p:cNvSpPr/>
          <p:nvPr/>
        </p:nvSpPr>
        <p:spPr>
          <a:xfrm>
            <a:off x="7092280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221088"/>
            <a:ext cx="144016" cy="504056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281"/>
          <p:cNvCxnSpPr/>
          <p:nvPr/>
        </p:nvCxnSpPr>
        <p:spPr>
          <a:xfrm>
            <a:off x="6732240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6372200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84" name="Rechteck 283"/>
          <p:cNvSpPr/>
          <p:nvPr/>
        </p:nvSpPr>
        <p:spPr>
          <a:xfrm>
            <a:off x="7092280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9000"/>
            <a:ext cx="144016" cy="79208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289"/>
          <p:cNvCxnSpPr/>
          <p:nvPr/>
        </p:nvCxnSpPr>
        <p:spPr>
          <a:xfrm>
            <a:off x="6732240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290"/>
          <p:cNvCxnSpPr/>
          <p:nvPr/>
        </p:nvCxnSpPr>
        <p:spPr>
          <a:xfrm>
            <a:off x="6732240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/>
          <p:cNvSpPr/>
          <p:nvPr/>
        </p:nvSpPr>
        <p:spPr>
          <a:xfrm>
            <a:off x="6372200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6372200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Gerade Verbindung 297"/>
          <p:cNvCxnSpPr/>
          <p:nvPr/>
        </p:nvCxnSpPr>
        <p:spPr>
          <a:xfrm>
            <a:off x="8244408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9" name="Rechteck 298"/>
          <p:cNvSpPr/>
          <p:nvPr/>
        </p:nvSpPr>
        <p:spPr>
          <a:xfrm>
            <a:off x="7884368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8604448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933056"/>
            <a:ext cx="144016" cy="792088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Gerade Verbindung 307"/>
          <p:cNvCxnSpPr/>
          <p:nvPr/>
        </p:nvCxnSpPr>
        <p:spPr>
          <a:xfrm>
            <a:off x="8244408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9" name="Rechteck 308"/>
          <p:cNvSpPr/>
          <p:nvPr/>
        </p:nvSpPr>
        <p:spPr>
          <a:xfrm>
            <a:off x="7884368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310" name="Rechteck 309"/>
          <p:cNvSpPr/>
          <p:nvPr/>
        </p:nvSpPr>
        <p:spPr>
          <a:xfrm>
            <a:off x="8604448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9000"/>
            <a:ext cx="144016" cy="50405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6" name="Gerade Verbindung 315"/>
          <p:cNvCxnSpPr/>
          <p:nvPr/>
        </p:nvCxnSpPr>
        <p:spPr>
          <a:xfrm>
            <a:off x="8244408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Gerade Verbindung 316"/>
          <p:cNvCxnSpPr/>
          <p:nvPr/>
        </p:nvCxnSpPr>
        <p:spPr>
          <a:xfrm>
            <a:off x="8244408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8" name="Rechteck 317"/>
          <p:cNvSpPr/>
          <p:nvPr/>
        </p:nvSpPr>
        <p:spPr>
          <a:xfrm>
            <a:off x="7884368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7884368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Gleichschenkliges Dreieck 324"/>
          <p:cNvSpPr/>
          <p:nvPr/>
        </p:nvSpPr>
        <p:spPr>
          <a:xfrm rot="16200000">
            <a:off x="7020272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Gleichschenkliges Dreieck 325"/>
          <p:cNvSpPr/>
          <p:nvPr/>
        </p:nvSpPr>
        <p:spPr>
          <a:xfrm rot="16200000">
            <a:off x="8532440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l-GR" sz="1000" dirty="0">
                <a:solidFill>
                  <a:schemeClr val="tx1"/>
                </a:solidFill>
              </a:rPr>
              <a:t>ε</a:t>
            </a:r>
            <a:r>
              <a:rPr lang="de-CH" sz="1000" dirty="0">
                <a:solidFill>
                  <a:schemeClr val="tx1"/>
                </a:solidFill>
              </a:rPr>
              <a:t> = Epsilon = 0.000 000 001 </a:t>
            </a:r>
            <a:r>
              <a:rPr lang="de-CH" sz="1000" dirty="0" err="1">
                <a:solidFill>
                  <a:schemeClr val="tx1"/>
                </a:solidFill>
              </a:rPr>
              <a:t>or</a:t>
            </a:r>
            <a:r>
              <a:rPr lang="de-CH" sz="1000" dirty="0">
                <a:solidFill>
                  <a:schemeClr val="tx1"/>
                </a:solidFill>
              </a:rPr>
              <a:t> 0.1 </a:t>
            </a:r>
            <a:r>
              <a:rPr lang="de-CH" sz="1000" dirty="0" err="1">
                <a:solidFill>
                  <a:schemeClr val="tx1"/>
                </a:solidFill>
              </a:rPr>
              <a:t>cent</a:t>
            </a:r>
            <a:r>
              <a:rPr lang="de-CH" sz="1000" dirty="0">
                <a:solidFill>
                  <a:schemeClr val="tx1"/>
                </a:solidFill>
              </a:rPr>
              <a:t> </a:t>
            </a:r>
            <a:r>
              <a:rPr lang="de-CH" sz="1000" dirty="0" err="1">
                <a:solidFill>
                  <a:schemeClr val="tx1"/>
                </a:solidFill>
              </a:rPr>
              <a:t>currency</a:t>
            </a:r>
            <a:r>
              <a:rPr lang="de-CH" sz="1000" dirty="0">
                <a:solidFill>
                  <a:schemeClr val="tx1"/>
                </a:solidFill>
              </a:rPr>
              <a:t> </a:t>
            </a:r>
            <a:r>
              <a:rPr lang="de-CH" sz="1000" dirty="0" err="1">
                <a:solidFill>
                  <a:schemeClr val="tx1"/>
                </a:solidFill>
              </a:rPr>
              <a:t>value</a:t>
            </a:r>
            <a:r>
              <a:rPr lang="de-CH" sz="1000" dirty="0">
                <a:solidFill>
                  <a:schemeClr val="tx1"/>
                </a:solidFill>
              </a:rPr>
              <a:t> in </a:t>
            </a:r>
            <a:r>
              <a:rPr lang="de-CH" sz="1000" dirty="0" err="1">
                <a:solidFill>
                  <a:schemeClr val="tx1"/>
                </a:solidFill>
              </a:rPr>
              <a:t>millions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6648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399E891D-4EF9-4EB1-84DC-70AF547B22F9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0C1F77A7-9C55-423E-AF1B-0D164AC491A1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CB1A495-C745-4FF4-85D0-7E6AE9B2BE5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53874022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161853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84000" y="2133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428000" y="21338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556000" y="2132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6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428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300000" y="21330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300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26259571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7" name="Rechteck 86"/>
          <p:cNvSpPr/>
          <p:nvPr/>
        </p:nvSpPr>
        <p:spPr>
          <a:xfrm>
            <a:off x="1547664" y="13407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7" name="Rechteck 96"/>
          <p:cNvSpPr/>
          <p:nvPr/>
        </p:nvSpPr>
        <p:spPr>
          <a:xfrm>
            <a:off x="1547664" y="155679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2195736" y="13407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2195736" y="155679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1547664" y="112474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2195736" y="112474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1547664" y="177281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1" name="Rechteck 130"/>
          <p:cNvSpPr/>
          <p:nvPr/>
        </p:nvSpPr>
        <p:spPr>
          <a:xfrm>
            <a:off x="2195736" y="177281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7944" y="2348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067944" y="2564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716016" y="2348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16" y="2564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4067944" y="2132872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4716016" y="2132872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 ( a[o] )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4067944" y="2780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4716016" y="2780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child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347864" y="1413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Rechteck 192"/>
          <p:cNvSpPr/>
          <p:nvPr/>
        </p:nvSpPr>
        <p:spPr>
          <a:xfrm>
            <a:off x="6588224" y="134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6588224" y="155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7236296" y="134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96" name="Rechteck 195"/>
          <p:cNvSpPr/>
          <p:nvPr/>
        </p:nvSpPr>
        <p:spPr>
          <a:xfrm>
            <a:off x="7236296" y="1557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y</a:t>
            </a:r>
          </a:p>
        </p:txBody>
      </p:sp>
      <p:sp>
        <p:nvSpPr>
          <p:cNvPr id="197" name="Rechteck 196"/>
          <p:cNvSpPr/>
          <p:nvPr/>
        </p:nvSpPr>
        <p:spPr>
          <a:xfrm>
            <a:off x="6588224" y="112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98" name="Rechteck 197"/>
          <p:cNvSpPr/>
          <p:nvPr/>
        </p:nvSpPr>
        <p:spPr>
          <a:xfrm>
            <a:off x="7236296" y="112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y ( a[</a:t>
            </a:r>
            <a:r>
              <a:rPr lang="en-US" sz="1000" dirty="0" err="1">
                <a:solidFill>
                  <a:schemeClr val="tx1"/>
                </a:solidFill>
              </a:rPr>
              <a:t>e,y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6588224" y="177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hildren</a:t>
            </a:r>
          </a:p>
        </p:txBody>
      </p:sp>
      <p:sp>
        <p:nvSpPr>
          <p:cNvPr id="200" name="Rechteck 199"/>
          <p:cNvSpPr/>
          <p:nvPr/>
        </p:nvSpPr>
        <p:spPr>
          <a:xfrm>
            <a:off x="7236296" y="1773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1" name="Freihandform 200"/>
          <p:cNvSpPr/>
          <p:nvPr/>
        </p:nvSpPr>
        <p:spPr>
          <a:xfrm>
            <a:off x="5868144" y="14130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hteck 72"/>
          <p:cNvSpPr/>
          <p:nvPr/>
        </p:nvSpPr>
        <p:spPr>
          <a:xfrm>
            <a:off x="4067928" y="134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067928" y="155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5" name="Rechteck 74"/>
          <p:cNvSpPr/>
          <p:nvPr/>
        </p:nvSpPr>
        <p:spPr>
          <a:xfrm>
            <a:off x="4716000" y="134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000" y="1557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77" name="Rechteck 76"/>
          <p:cNvSpPr/>
          <p:nvPr/>
        </p:nvSpPr>
        <p:spPr>
          <a:xfrm>
            <a:off x="4067928" y="112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8" name="Rechteck 77"/>
          <p:cNvSpPr/>
          <p:nvPr/>
        </p:nvSpPr>
        <p:spPr>
          <a:xfrm>
            <a:off x="4716000" y="112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     ( a[e]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4067928" y="177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716000" y="1773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81" name="Freihandform 80"/>
          <p:cNvSpPr/>
          <p:nvPr/>
        </p:nvSpPr>
        <p:spPr>
          <a:xfrm flipV="1">
            <a:off x="3348000" y="1845048"/>
            <a:ext cx="720080" cy="647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hteck 88"/>
          <p:cNvSpPr/>
          <p:nvPr/>
        </p:nvSpPr>
        <p:spPr>
          <a:xfrm>
            <a:off x="4068000" y="3356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3572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6072" y="3356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2" name="Rechteck 91"/>
          <p:cNvSpPr/>
          <p:nvPr/>
        </p:nvSpPr>
        <p:spPr>
          <a:xfrm>
            <a:off x="4716072" y="3572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3" name="Rechteck 92"/>
          <p:cNvSpPr/>
          <p:nvPr/>
        </p:nvSpPr>
        <p:spPr>
          <a:xfrm>
            <a:off x="4068000" y="3140872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16072" y="3140872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u ( a[u] )</a:t>
            </a:r>
          </a:p>
        </p:txBody>
      </p:sp>
      <p:sp>
        <p:nvSpPr>
          <p:cNvPr id="95" name="Rechteck 94"/>
          <p:cNvSpPr/>
          <p:nvPr/>
        </p:nvSpPr>
        <p:spPr>
          <a:xfrm>
            <a:off x="4068000" y="3788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72" y="3788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child</a:t>
            </a:r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656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hteck 106"/>
          <p:cNvSpPr/>
          <p:nvPr/>
        </p:nvSpPr>
        <p:spPr>
          <a:xfrm>
            <a:off x="658808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658808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723615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10" name="Rechteck 109"/>
          <p:cNvSpPr/>
          <p:nvPr/>
        </p:nvSpPr>
        <p:spPr>
          <a:xfrm>
            <a:off x="723615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Huy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58808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723615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y ( a[</a:t>
            </a:r>
            <a:r>
              <a:rPr lang="en-US" sz="1000" dirty="0" err="1">
                <a:solidFill>
                  <a:schemeClr val="tx1"/>
                </a:solidFill>
              </a:rPr>
              <a:t>u,y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658808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hildren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723615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9" name="Freihandform 128"/>
          <p:cNvSpPr/>
          <p:nvPr/>
        </p:nvSpPr>
        <p:spPr>
          <a:xfrm>
            <a:off x="5868000" y="34290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84000" y="2133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428000" y="21338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556000" y="2132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6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428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300000" y="21330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300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8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189790276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84000" y="2133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428000" y="21338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556000" y="2132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428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300000" y="21330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300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FBDC6DD0-DE09-475F-9BE6-B04342D3AC4A}"/>
              </a:ext>
            </a:extLst>
          </p:cNvPr>
          <p:cNvSpPr/>
          <p:nvPr/>
        </p:nvSpPr>
        <p:spPr>
          <a:xfrm>
            <a:off x="2267780" y="3933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C*',   10 ]  (orange)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2E6CD39F-AA9C-4166-8A8F-FFEB33889507}"/>
              </a:ext>
            </a:extLst>
          </p:cNvPr>
          <p:cNvSpPr/>
          <p:nvPr/>
        </p:nvSpPr>
        <p:spPr>
          <a:xfrm>
            <a:off x="252000" y="2636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DEA86543-0665-4CF8-9331-CC468E329B6D}"/>
              </a:ext>
            </a:extLst>
          </p:cNvPr>
          <p:cNvSpPr/>
          <p:nvPr/>
        </p:nvSpPr>
        <p:spPr>
          <a:xfrm>
            <a:off x="2556000" y="263714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8054AD6C-FC22-478C-9F80-D6D6F4953E05}"/>
              </a:ext>
            </a:extLst>
          </p:cNvPr>
          <p:cNvSpPr/>
          <p:nvPr/>
        </p:nvSpPr>
        <p:spPr>
          <a:xfrm>
            <a:off x="2268000" y="2709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 {AUT, Vienna}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3A8722D0-E259-4810-9E8A-D5008A62AB9C}"/>
              </a:ext>
            </a:extLst>
          </p:cNvPr>
          <p:cNvSpPr/>
          <p:nvPr/>
        </p:nvSpPr>
        <p:spPr>
          <a:xfrm>
            <a:off x="2268000" y="2637000"/>
            <a:ext cx="288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4D34F7D8-3047-4A31-88D6-8E1CBDB0701D}"/>
              </a:ext>
            </a:extLst>
          </p:cNvPr>
          <p:cNvSpPr/>
          <p:nvPr/>
        </p:nvSpPr>
        <p:spPr>
          <a:xfrm>
            <a:off x="396000" y="3933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10 ]   (pink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4.., 11]    (blu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12 ]     (yellow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, 12 ]       (yellow)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0DEC499C-2BFE-4D29-8B4F-05A6B155AA62}"/>
              </a:ext>
            </a:extLst>
          </p:cNvPr>
          <p:cNvSpPr/>
          <p:nvPr/>
        </p:nvSpPr>
        <p:spPr>
          <a:xfrm>
            <a:off x="1188000" y="2636990"/>
            <a:ext cx="288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8B2AEF00-A5DA-44E3-BD8D-EA6E7D3F49EE}"/>
              </a:ext>
            </a:extLst>
          </p:cNvPr>
          <p:cNvSpPr/>
          <p:nvPr/>
        </p:nvSpPr>
        <p:spPr>
          <a:xfrm>
            <a:off x="396000" y="2637000"/>
            <a:ext cx="288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E2152035-E9F0-4878-A6A0-0DE8FCC03C74}"/>
              </a:ext>
            </a:extLst>
          </p:cNvPr>
          <p:cNvSpPr/>
          <p:nvPr/>
        </p:nvSpPr>
        <p:spPr>
          <a:xfrm>
            <a:off x="684000" y="2637000"/>
            <a:ext cx="144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CE8B921D-3876-4CCB-B3DE-C8ACF1DDD582}"/>
              </a:ext>
            </a:extLst>
          </p:cNvPr>
          <p:cNvSpPr/>
          <p:nvPr/>
        </p:nvSpPr>
        <p:spPr>
          <a:xfrm>
            <a:off x="828000" y="26370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BFF24513-10DF-4CEE-997F-5430E12DF0F1}"/>
              </a:ext>
            </a:extLst>
          </p:cNvPr>
          <p:cNvSpPr/>
          <p:nvPr/>
        </p:nvSpPr>
        <p:spPr>
          <a:xfrm>
            <a:off x="1044000" y="2637000"/>
            <a:ext cx="144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44513347-51C0-4042-BC0E-BBCCBE8E29B0}"/>
              </a:ext>
            </a:extLst>
          </p:cNvPr>
          <p:cNvSpPr/>
          <p:nvPr/>
        </p:nvSpPr>
        <p:spPr>
          <a:xfrm>
            <a:off x="1188000" y="2780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231EBBC6-0DD7-4511-8DBF-4144261329F8}"/>
              </a:ext>
            </a:extLst>
          </p:cNvPr>
          <p:cNvSpPr/>
          <p:nvPr/>
        </p:nvSpPr>
        <p:spPr>
          <a:xfrm>
            <a:off x="1476000" y="27809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E94E2645-E02E-4797-A72F-2CAAF4D40CD5}"/>
              </a:ext>
            </a:extLst>
          </p:cNvPr>
          <p:cNvSpPr/>
          <p:nvPr/>
        </p:nvSpPr>
        <p:spPr>
          <a:xfrm>
            <a:off x="1620000" y="27809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8E5F3148-CB34-4EB2-ACC3-579891A958A4}"/>
              </a:ext>
            </a:extLst>
          </p:cNvPr>
          <p:cNvSpPr/>
          <p:nvPr/>
        </p:nvSpPr>
        <p:spPr>
          <a:xfrm>
            <a:off x="1908000" y="2780990"/>
            <a:ext cx="72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92A24E82-22F4-4811-8610-00C6FC1229B5}"/>
              </a:ext>
            </a:extLst>
          </p:cNvPr>
          <p:cNvSpPr/>
          <p:nvPr/>
        </p:nvSpPr>
        <p:spPr>
          <a:xfrm>
            <a:off x="1764000" y="27809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F6793B92-3062-43EB-BFC0-8B9A54D05E2C}"/>
              </a:ext>
            </a:extLst>
          </p:cNvPr>
          <p:cNvSpPr/>
          <p:nvPr/>
        </p:nvSpPr>
        <p:spPr>
          <a:xfrm>
            <a:off x="252000" y="278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1/-4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065CE1E-2B9A-49A2-A5F2-BFF78666B509}"/>
              </a:ext>
            </a:extLst>
          </p:cNvPr>
          <p:cNvSpPr/>
          <p:nvPr/>
        </p:nvSpPr>
        <p:spPr>
          <a:xfrm>
            <a:off x="251980" y="29334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AC7E84D3-745A-492B-A395-EAC2E9843D5E}"/>
              </a:ext>
            </a:extLst>
          </p:cNvPr>
          <p:cNvSpPr/>
          <p:nvPr/>
        </p:nvSpPr>
        <p:spPr>
          <a:xfrm>
            <a:off x="1188000" y="2925000"/>
            <a:ext cx="288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5C1D2E22-98CA-47EE-A4DB-B3B8DF657DF6}"/>
              </a:ext>
            </a:extLst>
          </p:cNvPr>
          <p:cNvSpPr/>
          <p:nvPr/>
        </p:nvSpPr>
        <p:spPr>
          <a:xfrm>
            <a:off x="1476000" y="29250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B34FC2D-C4CD-4D23-A261-7D64FCA7F307}"/>
              </a:ext>
            </a:extLst>
          </p:cNvPr>
          <p:cNvSpPr/>
          <p:nvPr/>
        </p:nvSpPr>
        <p:spPr>
          <a:xfrm>
            <a:off x="1620000" y="29250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62298C9-9F05-4D99-8EB5-D90FD507DAA1}"/>
              </a:ext>
            </a:extLst>
          </p:cNvPr>
          <p:cNvSpPr/>
          <p:nvPr/>
        </p:nvSpPr>
        <p:spPr>
          <a:xfrm>
            <a:off x="1908000" y="2925000"/>
            <a:ext cx="72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BC5C22F-194C-4501-AD64-C707CE9129A8}"/>
              </a:ext>
            </a:extLst>
          </p:cNvPr>
          <p:cNvSpPr/>
          <p:nvPr/>
        </p:nvSpPr>
        <p:spPr>
          <a:xfrm>
            <a:off x="1764000" y="29250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8FAD58E-5EC8-4217-9CAE-ABC92F4CDC9B}"/>
              </a:ext>
            </a:extLst>
          </p:cNvPr>
          <p:cNvSpPr/>
          <p:nvPr/>
        </p:nvSpPr>
        <p:spPr>
          <a:xfrm>
            <a:off x="396000" y="2925000"/>
            <a:ext cx="288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862653B1-DBB7-4577-AE9A-DF4B7694320B}"/>
              </a:ext>
            </a:extLst>
          </p:cNvPr>
          <p:cNvSpPr/>
          <p:nvPr/>
        </p:nvSpPr>
        <p:spPr>
          <a:xfrm>
            <a:off x="684000" y="29250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1DA22D84-3668-4374-97E4-6B9B911945BD}"/>
              </a:ext>
            </a:extLst>
          </p:cNvPr>
          <p:cNvSpPr/>
          <p:nvPr/>
        </p:nvSpPr>
        <p:spPr>
          <a:xfrm>
            <a:off x="828000" y="2925000"/>
            <a:ext cx="216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4A2748F5-1F26-4F76-B12F-39F83AA9A13F}"/>
              </a:ext>
            </a:extLst>
          </p:cNvPr>
          <p:cNvSpPr/>
          <p:nvPr/>
        </p:nvSpPr>
        <p:spPr>
          <a:xfrm>
            <a:off x="1044000" y="29250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247440403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Full Table Specification – Horizontal Acces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611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90000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611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1043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899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611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611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rang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4275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4275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8596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7156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4275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4275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column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7157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92530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9253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s</a:t>
            </a:r>
          </a:p>
        </p:txBody>
      </p:sp>
      <p:sp>
        <p:nvSpPr>
          <p:cNvPr id="54" name="Rechteck 53"/>
          <p:cNvSpPr/>
          <p:nvPr/>
        </p:nvSpPr>
        <p:spPr>
          <a:xfrm>
            <a:off x="61178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2..8,      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9..-3, -18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9..8,      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2..-3, -18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2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-9, -1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2.., -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9.., 8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-1, 10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427560" y="3285980"/>
            <a:ext cx="1584220" cy="1511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Popula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Country }, 2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tockholm, 917000, SE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Country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Population}, -15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Oslo, NO, 640000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2, -6, 8 },  5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Oslo, NO, 640000 }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2411710" y="177343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0" name="Gerade Verbindung 94"/>
          <p:cNvCxnSpPr/>
          <p:nvPr/>
        </p:nvCxnSpPr>
        <p:spPr>
          <a:xfrm>
            <a:off x="2411710" y="184544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94"/>
          <p:cNvCxnSpPr/>
          <p:nvPr/>
        </p:nvCxnSpPr>
        <p:spPr>
          <a:xfrm>
            <a:off x="284377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94"/>
          <p:cNvCxnSpPr/>
          <p:nvPr/>
        </p:nvCxnSpPr>
        <p:spPr>
          <a:xfrm>
            <a:off x="269975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2411710" y="981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41171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ame rang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41171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City..Population</a:t>
            </a:r>
            <a:r>
              <a:rPr lang="en-US" sz="1000" dirty="0">
                <a:solidFill>
                  <a:schemeClr val="tx1"/>
                </a:solidFill>
              </a:rPr>
              <a:t>, 2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2..Population, -18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City, 5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.., 8 ]</a:t>
            </a:r>
          </a:p>
        </p:txBody>
      </p:sp>
      <p:sp>
        <p:nvSpPr>
          <p:cNvPr id="82" name="Rechteck 81"/>
          <p:cNvSpPr/>
          <p:nvPr/>
        </p:nvSpPr>
        <p:spPr>
          <a:xfrm>
            <a:off x="2700060" y="162934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6798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6798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46798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175" name="Rechteck 174"/>
          <p:cNvSpPr/>
          <p:nvPr/>
        </p:nvSpPr>
        <p:spPr>
          <a:xfrm>
            <a:off x="4283950" y="17736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4283950" y="21337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4283950" y="31418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71" name="Rechteck 70"/>
          <p:cNvSpPr/>
          <p:nvPr/>
        </p:nvSpPr>
        <p:spPr>
          <a:xfrm>
            <a:off x="468000" y="2348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 / -12</a:t>
            </a:r>
          </a:p>
        </p:txBody>
      </p:sp>
      <p:sp>
        <p:nvSpPr>
          <p:cNvPr id="74" name="Rechteck 73"/>
          <p:cNvSpPr/>
          <p:nvPr/>
        </p:nvSpPr>
        <p:spPr>
          <a:xfrm>
            <a:off x="467980" y="2492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 / -10</a:t>
            </a:r>
          </a:p>
        </p:txBody>
      </p:sp>
      <p:sp>
        <p:nvSpPr>
          <p:cNvPr id="75" name="Rechteck 74"/>
          <p:cNvSpPr/>
          <p:nvPr/>
        </p:nvSpPr>
        <p:spPr>
          <a:xfrm>
            <a:off x="468000" y="1916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80" name="Rechteck 79"/>
          <p:cNvSpPr/>
          <p:nvPr/>
        </p:nvSpPr>
        <p:spPr>
          <a:xfrm>
            <a:off x="900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044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1188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1332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147598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1620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1764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89997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92" name="Rechteck 91"/>
          <p:cNvSpPr/>
          <p:nvPr/>
        </p:nvSpPr>
        <p:spPr>
          <a:xfrm>
            <a:off x="61178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93" name="Rechteck 92"/>
          <p:cNvSpPr/>
          <p:nvPr/>
        </p:nvSpPr>
        <p:spPr>
          <a:xfrm>
            <a:off x="205213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94" name="Rechteck 93"/>
          <p:cNvSpPr/>
          <p:nvPr/>
        </p:nvSpPr>
        <p:spPr>
          <a:xfrm>
            <a:off x="176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95" name="Rechteck 94"/>
          <p:cNvSpPr/>
          <p:nvPr/>
        </p:nvSpPr>
        <p:spPr>
          <a:xfrm>
            <a:off x="612000" y="249299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756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900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1044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1188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1332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147598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1620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764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1908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2052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756000" y="2132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61198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118798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1043980" y="2348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89996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332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1475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62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/>
          <p:cNvSpPr/>
          <p:nvPr/>
        </p:nvSpPr>
        <p:spPr>
          <a:xfrm>
            <a:off x="1764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08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2052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39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9600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96000" y="357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396000" y="37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96000" y="3861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00" y="400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396000" y="43014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396000" y="4437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396000" y="4581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7" name="Gerade Verbindung 94"/>
          <p:cNvCxnSpPr/>
          <p:nvPr/>
        </p:nvCxnSpPr>
        <p:spPr>
          <a:xfrm>
            <a:off x="19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94"/>
          <p:cNvCxnSpPr/>
          <p:nvPr/>
        </p:nvCxnSpPr>
        <p:spPr>
          <a:xfrm>
            <a:off x="1763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94"/>
          <p:cNvCxnSpPr/>
          <p:nvPr/>
        </p:nvCxnSpPr>
        <p:spPr>
          <a:xfrm>
            <a:off x="370704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94"/>
          <p:cNvCxnSpPr/>
          <p:nvPr/>
        </p:nvCxnSpPr>
        <p:spPr>
          <a:xfrm>
            <a:off x="3563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hteck 130"/>
          <p:cNvSpPr/>
          <p:nvPr/>
        </p:nvSpPr>
        <p:spPr>
          <a:xfrm>
            <a:off x="3563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2699000" y="213301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699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2843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987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3131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274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3419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3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5500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410980" y="213301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986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284298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69896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131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27498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419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563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707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3851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396000" y="47334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195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219502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195020" y="357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195020" y="37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94"/>
          <p:cNvCxnSpPr/>
          <p:nvPr/>
        </p:nvCxnSpPr>
        <p:spPr>
          <a:xfrm>
            <a:off x="572304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/>
          <p:cNvCxnSpPr/>
          <p:nvPr/>
        </p:nvCxnSpPr>
        <p:spPr>
          <a:xfrm>
            <a:off x="557902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579020" y="16289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173" name="Gerade Verbindung 94"/>
          <p:cNvCxnSpPr/>
          <p:nvPr/>
        </p:nvCxnSpPr>
        <p:spPr>
          <a:xfrm>
            <a:off x="5291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 Verbindung 94"/>
          <p:cNvCxnSpPr/>
          <p:nvPr/>
        </p:nvCxnSpPr>
        <p:spPr>
          <a:xfrm>
            <a:off x="5147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/>
          <p:cNvSpPr/>
          <p:nvPr/>
        </p:nvSpPr>
        <p:spPr>
          <a:xfrm>
            <a:off x="5075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269921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241102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385137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2" name="Rechteck 181"/>
          <p:cNvSpPr/>
          <p:nvPr/>
        </p:nvSpPr>
        <p:spPr>
          <a:xfrm>
            <a:off x="356323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471499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4" name="Rechteck 183"/>
          <p:cNvSpPr/>
          <p:nvPr/>
        </p:nvSpPr>
        <p:spPr>
          <a:xfrm>
            <a:off x="442680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5" name="Rechteck 184"/>
          <p:cNvSpPr/>
          <p:nvPr/>
        </p:nvSpPr>
        <p:spPr>
          <a:xfrm>
            <a:off x="586715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5579018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51471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190" name="Rechteck 189"/>
          <p:cNvSpPr/>
          <p:nvPr/>
        </p:nvSpPr>
        <p:spPr>
          <a:xfrm>
            <a:off x="471502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514702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5579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471502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702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57900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4211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4211020" y="3860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4715880" y="1988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579150" y="19882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917000</a:t>
            </a:r>
          </a:p>
        </p:txBody>
      </p:sp>
      <p:sp>
        <p:nvSpPr>
          <p:cNvPr id="200" name="Rechteck 199"/>
          <p:cNvSpPr/>
          <p:nvPr/>
        </p:nvSpPr>
        <p:spPr>
          <a:xfrm>
            <a:off x="514715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4715020" y="220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5578290" y="22042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640000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14629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9252760" y="17737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5" name="Gerade Verbindung 94"/>
          <p:cNvCxnSpPr/>
          <p:nvPr/>
        </p:nvCxnSpPr>
        <p:spPr>
          <a:xfrm>
            <a:off x="9252760" y="18458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94"/>
          <p:cNvCxnSpPr/>
          <p:nvPr/>
        </p:nvCxnSpPr>
        <p:spPr>
          <a:xfrm>
            <a:off x="9684820" y="17737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Gerade Verbindung 94"/>
          <p:cNvCxnSpPr/>
          <p:nvPr/>
        </p:nvCxnSpPr>
        <p:spPr>
          <a:xfrm>
            <a:off x="9540800" y="17737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Rechteck 207"/>
          <p:cNvSpPr/>
          <p:nvPr/>
        </p:nvSpPr>
        <p:spPr>
          <a:xfrm>
            <a:off x="9540950" y="16297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cxnSp>
        <p:nvCxnSpPr>
          <p:cNvPr id="209" name="Gerade Verbindung 94"/>
          <p:cNvCxnSpPr/>
          <p:nvPr/>
        </p:nvCxnSpPr>
        <p:spPr>
          <a:xfrm>
            <a:off x="10548240" y="177301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94"/>
          <p:cNvCxnSpPr/>
          <p:nvPr/>
        </p:nvCxnSpPr>
        <p:spPr>
          <a:xfrm>
            <a:off x="10404220" y="177301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echteck 210"/>
          <p:cNvSpPr/>
          <p:nvPr/>
        </p:nvSpPr>
        <p:spPr>
          <a:xfrm>
            <a:off x="10404220" y="162899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218" name="Gerade Verbindung 94"/>
          <p:cNvCxnSpPr/>
          <p:nvPr/>
        </p:nvCxnSpPr>
        <p:spPr>
          <a:xfrm>
            <a:off x="10116220" y="17730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Gerade Verbindung 94"/>
          <p:cNvCxnSpPr/>
          <p:nvPr/>
        </p:nvCxnSpPr>
        <p:spPr>
          <a:xfrm>
            <a:off x="9972200" y="17730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Rechteck 223"/>
          <p:cNvSpPr/>
          <p:nvPr/>
        </p:nvSpPr>
        <p:spPr>
          <a:xfrm>
            <a:off x="9900220" y="1629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954019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925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106923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1040421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9972350" y="1485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9540220" y="1917020"/>
            <a:ext cx="14402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9972220" y="1917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10404200" y="1917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9540220" y="2133020"/>
            <a:ext cx="14402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9972220" y="21330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10404200" y="21330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954108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244" name="Rechteck 243"/>
          <p:cNvSpPr/>
          <p:nvPr/>
        </p:nvSpPr>
        <p:spPr>
          <a:xfrm>
            <a:off x="10404350" y="19882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917000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9972350" y="19882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954022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247" name="Rechteck 246"/>
          <p:cNvSpPr/>
          <p:nvPr/>
        </p:nvSpPr>
        <p:spPr>
          <a:xfrm>
            <a:off x="10403490" y="22042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640000</a:t>
            </a:r>
          </a:p>
        </p:txBody>
      </p:sp>
      <p:sp>
        <p:nvSpPr>
          <p:cNvPr id="248" name="Rechteck 247"/>
          <p:cNvSpPr/>
          <p:nvPr/>
        </p:nvSpPr>
        <p:spPr>
          <a:xfrm>
            <a:off x="9971490" y="22042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250" name="Rechteck 249"/>
          <p:cNvSpPr/>
          <p:nvPr/>
        </p:nvSpPr>
        <p:spPr>
          <a:xfrm>
            <a:off x="903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9036000" y="3860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211020" y="4436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9036000" y="4436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283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9252980" y="3285000"/>
            <a:ext cx="1584220" cy="1511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Popula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Country }, 2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tockholm, 917000, SE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Country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Population}, -15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Oslo, NO, 640000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2, -6, 8 },  5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Oslo, NO, 640000 }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227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94"/>
          <p:cNvCxnSpPr/>
          <p:nvPr/>
        </p:nvCxnSpPr>
        <p:spPr>
          <a:xfrm>
            <a:off x="6227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94"/>
          <p:cNvCxnSpPr/>
          <p:nvPr/>
        </p:nvCxnSpPr>
        <p:spPr>
          <a:xfrm>
            <a:off x="6659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94"/>
          <p:cNvCxnSpPr/>
          <p:nvPr/>
        </p:nvCxnSpPr>
        <p:spPr>
          <a:xfrm>
            <a:off x="6515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7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6227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column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515970" y="16290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227780" y="3285300"/>
            <a:ext cx="1584220" cy="1511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C*', 2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tockholm, SE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City, -15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Oslo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*', 8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Reads entire row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:‘()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xPü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amp;’, 1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mpty set (no match)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92" name="Gerade Verbindung 94"/>
          <p:cNvCxnSpPr/>
          <p:nvPr/>
        </p:nvCxnSpPr>
        <p:spPr>
          <a:xfrm>
            <a:off x="7091240" y="17723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Gerade Verbindung 94"/>
          <p:cNvCxnSpPr/>
          <p:nvPr/>
        </p:nvCxnSpPr>
        <p:spPr>
          <a:xfrm>
            <a:off x="6947220" y="17723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4" name="Rechteck 293"/>
          <p:cNvSpPr/>
          <p:nvPr/>
        </p:nvSpPr>
        <p:spPr>
          <a:xfrm>
            <a:off x="6875240" y="16283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515210" y="148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6227020" y="148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7667370" y="148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6947370" y="14843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6515240" y="19163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947240" y="19163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515240" y="21323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4" name="Rechteck 303"/>
          <p:cNvSpPr/>
          <p:nvPr/>
        </p:nvSpPr>
        <p:spPr>
          <a:xfrm>
            <a:off x="6947240" y="21323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6516100" y="1988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308" name="Rechteck 307"/>
          <p:cNvSpPr/>
          <p:nvPr/>
        </p:nvSpPr>
        <p:spPr>
          <a:xfrm>
            <a:off x="6947370" y="19875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09" name="Rechteck 308"/>
          <p:cNvSpPr/>
          <p:nvPr/>
        </p:nvSpPr>
        <p:spPr>
          <a:xfrm>
            <a:off x="6515240" y="220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6946510" y="22035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680396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3" name="Rechteck 312"/>
          <p:cNvSpPr/>
          <p:nvPr/>
        </p:nvSpPr>
        <p:spPr>
          <a:xfrm>
            <a:off x="6659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651596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6947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709196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7235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7379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7523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7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6371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4" name="Rechteck 323"/>
          <p:cNvSpPr/>
          <p:nvPr/>
        </p:nvSpPr>
        <p:spPr>
          <a:xfrm>
            <a:off x="622796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6012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6012000" y="37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6012000" y="41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60644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Rechteck 304"/>
          <p:cNvSpPr/>
          <p:nvPr/>
        </p:nvSpPr>
        <p:spPr>
          <a:xfrm>
            <a:off x="6228000" y="2133000"/>
            <a:ext cx="1584000" cy="72000"/>
          </a:xfrm>
          <a:prstGeom prst="rect">
            <a:avLst/>
          </a:prstGeom>
          <a:solidFill>
            <a:srgbClr val="FFFFCC"/>
          </a:solidFill>
          <a:ln w="9525">
            <a:solidFill>
              <a:srgbClr val="FF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4" name="Rechteck 303"/>
          <p:cNvSpPr/>
          <p:nvPr/>
        </p:nvSpPr>
        <p:spPr>
          <a:xfrm>
            <a:off x="6228000" y="1917000"/>
            <a:ext cx="1584000" cy="72000"/>
          </a:xfrm>
          <a:prstGeom prst="rect">
            <a:avLst/>
          </a:prstGeom>
          <a:solidFill>
            <a:srgbClr val="FFE0E0"/>
          </a:solidFill>
          <a:ln w="9525">
            <a:solidFill>
              <a:srgbClr val="FFE0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428000" y="2133000"/>
            <a:ext cx="1584000" cy="72000"/>
          </a:xfrm>
          <a:prstGeom prst="rect">
            <a:avLst/>
          </a:prstGeom>
          <a:solidFill>
            <a:srgbClr val="FFFFCC"/>
          </a:solidFill>
          <a:ln w="9525">
            <a:solidFill>
              <a:srgbClr val="FF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4428000" y="1917000"/>
            <a:ext cx="1584000" cy="72000"/>
          </a:xfrm>
          <a:prstGeom prst="rect">
            <a:avLst/>
          </a:prstGeom>
          <a:solidFill>
            <a:srgbClr val="FFE0E0"/>
          </a:solidFill>
          <a:ln w="9525">
            <a:solidFill>
              <a:srgbClr val="FFE0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612000" y="2349000"/>
            <a:ext cx="1584000" cy="72000"/>
          </a:xfrm>
          <a:prstGeom prst="rect">
            <a:avLst/>
          </a:prstGeom>
          <a:solidFill>
            <a:srgbClr val="E0FFE0"/>
          </a:solidFill>
          <a:ln w="9525">
            <a:solidFill>
              <a:srgbClr val="E0FF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612000" y="2133000"/>
            <a:ext cx="1584000" cy="72000"/>
          </a:xfrm>
          <a:prstGeom prst="rect">
            <a:avLst/>
          </a:prstGeom>
          <a:solidFill>
            <a:srgbClr val="FFFFCC"/>
          </a:solidFill>
          <a:ln w="9525">
            <a:solidFill>
              <a:srgbClr val="FF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612000" y="1917000"/>
            <a:ext cx="1584000" cy="72000"/>
          </a:xfrm>
          <a:prstGeom prst="rect">
            <a:avLst/>
          </a:prstGeom>
          <a:solidFill>
            <a:srgbClr val="FFE0E0"/>
          </a:solidFill>
          <a:ln w="9525">
            <a:solidFill>
              <a:srgbClr val="FFE0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412000" y="2349000"/>
            <a:ext cx="1584000" cy="72000"/>
          </a:xfrm>
          <a:prstGeom prst="rect">
            <a:avLst/>
          </a:prstGeom>
          <a:solidFill>
            <a:srgbClr val="E0FFE0"/>
          </a:solidFill>
          <a:ln w="9525">
            <a:solidFill>
              <a:srgbClr val="E0FF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412000" y="2133000"/>
            <a:ext cx="1584000" cy="72000"/>
          </a:xfrm>
          <a:prstGeom prst="rect">
            <a:avLst/>
          </a:prstGeom>
          <a:solidFill>
            <a:srgbClr val="FFFFCC"/>
          </a:solidFill>
          <a:ln w="9525">
            <a:solidFill>
              <a:srgbClr val="FF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2412000" y="1917000"/>
            <a:ext cx="1584000" cy="72000"/>
          </a:xfrm>
          <a:prstGeom prst="rect">
            <a:avLst/>
          </a:prstGeom>
          <a:solidFill>
            <a:srgbClr val="FFE0E0"/>
          </a:solidFill>
          <a:ln w="9525">
            <a:solidFill>
              <a:srgbClr val="FFE0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Partial Table Specification – Horizontal Acces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611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900000" y="2133000"/>
            <a:ext cx="144020" cy="7201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611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1043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899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611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611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rang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4275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4275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8596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7156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4275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4275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column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7157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92530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9253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s</a:t>
            </a:r>
          </a:p>
        </p:txBody>
      </p:sp>
      <p:sp>
        <p:nvSpPr>
          <p:cNvPr id="54" name="Rechteck 53"/>
          <p:cNvSpPr/>
          <p:nvPr/>
        </p:nvSpPr>
        <p:spPr>
          <a:xfrm>
            <a:off x="61178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 2..8,      2 ]	[ 2..8 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9..-3, -18 ]	[ 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9..8,      2 ]	[ -9..8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 2..-3, -18 ]	[ 2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..2, 5 ]	[ ..2 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..-9, -15 ]	[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2.., -12 ]	[ 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9.., 8 ]	[ -9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.., 10 ]	[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.., -10 ]	[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..-1, 10]	[ 1..-1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427560" y="3285980"/>
            <a:ext cx="1584220" cy="1439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{ City, Popula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Country }, 2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 { City, Popula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Country } ] 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tockholm, 917000,SE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{ 2, -6, 8 },  5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Oslo, NO, 640000 }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{ 2, 5, -3 } 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Oslo, NO, 640000 }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2411710" y="177343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0" name="Gerade Verbindung 94"/>
          <p:cNvCxnSpPr/>
          <p:nvPr/>
        </p:nvCxnSpPr>
        <p:spPr>
          <a:xfrm>
            <a:off x="2411710" y="184544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94"/>
          <p:cNvCxnSpPr/>
          <p:nvPr/>
        </p:nvCxnSpPr>
        <p:spPr>
          <a:xfrm>
            <a:off x="284377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94"/>
          <p:cNvCxnSpPr/>
          <p:nvPr/>
        </p:nvCxnSpPr>
        <p:spPr>
          <a:xfrm>
            <a:off x="269975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2411710" y="981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41171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ame rang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41171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City..Population</a:t>
            </a:r>
            <a:r>
              <a:rPr lang="en-US" sz="1000" dirty="0">
                <a:solidFill>
                  <a:schemeClr val="tx1"/>
                </a:solidFill>
              </a:rPr>
              <a:t>, 2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City..Population</a:t>
            </a:r>
            <a:r>
              <a:rPr lang="en-US" sz="1000" dirty="0">
                <a:solidFill>
                  <a:schemeClr val="tx1"/>
                </a:solidFill>
              </a:rPr>
              <a:t>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2..Population, -18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2..Population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..City, 5 ]	[ ..City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City.., 8 ]	[ City.. ]</a:t>
            </a:r>
          </a:p>
        </p:txBody>
      </p:sp>
      <p:sp>
        <p:nvSpPr>
          <p:cNvPr id="82" name="Rechteck 81"/>
          <p:cNvSpPr/>
          <p:nvPr/>
        </p:nvSpPr>
        <p:spPr>
          <a:xfrm>
            <a:off x="2700060" y="162934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6798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6798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46798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175" name="Rechteck 174"/>
          <p:cNvSpPr/>
          <p:nvPr/>
        </p:nvSpPr>
        <p:spPr>
          <a:xfrm>
            <a:off x="4283950" y="17736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4283950" y="21337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4283950" y="31418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71" name="Rechteck 70"/>
          <p:cNvSpPr/>
          <p:nvPr/>
        </p:nvSpPr>
        <p:spPr>
          <a:xfrm>
            <a:off x="468000" y="2348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 / -12</a:t>
            </a:r>
          </a:p>
        </p:txBody>
      </p:sp>
      <p:sp>
        <p:nvSpPr>
          <p:cNvPr id="74" name="Rechteck 73"/>
          <p:cNvSpPr/>
          <p:nvPr/>
        </p:nvSpPr>
        <p:spPr>
          <a:xfrm>
            <a:off x="467980" y="2492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 / -10</a:t>
            </a:r>
          </a:p>
        </p:txBody>
      </p:sp>
      <p:sp>
        <p:nvSpPr>
          <p:cNvPr id="75" name="Rechteck 74"/>
          <p:cNvSpPr/>
          <p:nvPr/>
        </p:nvSpPr>
        <p:spPr>
          <a:xfrm>
            <a:off x="468000" y="1916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80" name="Rechteck 79"/>
          <p:cNvSpPr/>
          <p:nvPr/>
        </p:nvSpPr>
        <p:spPr>
          <a:xfrm>
            <a:off x="900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044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1188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1332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147598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1620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1764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89997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92" name="Rechteck 91"/>
          <p:cNvSpPr/>
          <p:nvPr/>
        </p:nvSpPr>
        <p:spPr>
          <a:xfrm>
            <a:off x="61178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93" name="Rechteck 92"/>
          <p:cNvSpPr/>
          <p:nvPr/>
        </p:nvSpPr>
        <p:spPr>
          <a:xfrm>
            <a:off x="205213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94" name="Rechteck 93"/>
          <p:cNvSpPr/>
          <p:nvPr/>
        </p:nvSpPr>
        <p:spPr>
          <a:xfrm>
            <a:off x="176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95" name="Rechteck 94"/>
          <p:cNvSpPr/>
          <p:nvPr/>
        </p:nvSpPr>
        <p:spPr>
          <a:xfrm>
            <a:off x="612000" y="249299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756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900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1044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1188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1332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147598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1620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764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1908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2052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756000" y="2132990"/>
            <a:ext cx="144020" cy="7201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611980" y="2133000"/>
            <a:ext cx="144020" cy="7201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118798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1043980" y="2348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89996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332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1475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62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/>
          <p:cNvSpPr/>
          <p:nvPr/>
        </p:nvSpPr>
        <p:spPr>
          <a:xfrm>
            <a:off x="1764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08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2052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39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9600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96000" y="357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396000" y="37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96000" y="3861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00" y="400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396000" y="43014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396000" y="4437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396000" y="4581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7" name="Gerade Verbindung 94"/>
          <p:cNvCxnSpPr/>
          <p:nvPr/>
        </p:nvCxnSpPr>
        <p:spPr>
          <a:xfrm>
            <a:off x="19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94"/>
          <p:cNvCxnSpPr/>
          <p:nvPr/>
        </p:nvCxnSpPr>
        <p:spPr>
          <a:xfrm>
            <a:off x="1763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94"/>
          <p:cNvCxnSpPr/>
          <p:nvPr/>
        </p:nvCxnSpPr>
        <p:spPr>
          <a:xfrm>
            <a:off x="370704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94"/>
          <p:cNvCxnSpPr/>
          <p:nvPr/>
        </p:nvCxnSpPr>
        <p:spPr>
          <a:xfrm>
            <a:off x="3563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hteck 130"/>
          <p:cNvSpPr/>
          <p:nvPr/>
        </p:nvSpPr>
        <p:spPr>
          <a:xfrm>
            <a:off x="3563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2699000" y="213301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699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2843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987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3131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274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3419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3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5500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410980" y="213301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986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284298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69896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131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27498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419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563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707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3851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396000" y="47334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195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219502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195020" y="3861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195020" y="40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94"/>
          <p:cNvCxnSpPr/>
          <p:nvPr/>
        </p:nvCxnSpPr>
        <p:spPr>
          <a:xfrm>
            <a:off x="572304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/>
          <p:cNvCxnSpPr/>
          <p:nvPr/>
        </p:nvCxnSpPr>
        <p:spPr>
          <a:xfrm>
            <a:off x="557902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579020" y="16289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173" name="Gerade Verbindung 94"/>
          <p:cNvCxnSpPr/>
          <p:nvPr/>
        </p:nvCxnSpPr>
        <p:spPr>
          <a:xfrm>
            <a:off x="5291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 Verbindung 94"/>
          <p:cNvCxnSpPr/>
          <p:nvPr/>
        </p:nvCxnSpPr>
        <p:spPr>
          <a:xfrm>
            <a:off x="5147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/>
          <p:cNvSpPr/>
          <p:nvPr/>
        </p:nvSpPr>
        <p:spPr>
          <a:xfrm>
            <a:off x="5075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269921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241102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385137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2" name="Rechteck 181"/>
          <p:cNvSpPr/>
          <p:nvPr/>
        </p:nvSpPr>
        <p:spPr>
          <a:xfrm>
            <a:off x="356323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471499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4" name="Rechteck 183"/>
          <p:cNvSpPr/>
          <p:nvPr/>
        </p:nvSpPr>
        <p:spPr>
          <a:xfrm>
            <a:off x="442680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5" name="Rechteck 184"/>
          <p:cNvSpPr/>
          <p:nvPr/>
        </p:nvSpPr>
        <p:spPr>
          <a:xfrm>
            <a:off x="586715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5579018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51471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190" name="Rechteck 189"/>
          <p:cNvSpPr/>
          <p:nvPr/>
        </p:nvSpPr>
        <p:spPr>
          <a:xfrm>
            <a:off x="471502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514702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5579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471502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702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57900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4211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4211020" y="4148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4715880" y="1988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579150" y="19882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917000</a:t>
            </a:r>
          </a:p>
        </p:txBody>
      </p:sp>
      <p:sp>
        <p:nvSpPr>
          <p:cNvPr id="200" name="Rechteck 199"/>
          <p:cNvSpPr/>
          <p:nvPr/>
        </p:nvSpPr>
        <p:spPr>
          <a:xfrm>
            <a:off x="514715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4715020" y="220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5578290" y="22042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640000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14629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9252760" y="17737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5" name="Gerade Verbindung 94"/>
          <p:cNvCxnSpPr/>
          <p:nvPr/>
        </p:nvCxnSpPr>
        <p:spPr>
          <a:xfrm>
            <a:off x="9252760" y="18458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94"/>
          <p:cNvCxnSpPr/>
          <p:nvPr/>
        </p:nvCxnSpPr>
        <p:spPr>
          <a:xfrm>
            <a:off x="9684820" y="17737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Gerade Verbindung 94"/>
          <p:cNvCxnSpPr/>
          <p:nvPr/>
        </p:nvCxnSpPr>
        <p:spPr>
          <a:xfrm>
            <a:off x="9540800" y="17737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Rechteck 207"/>
          <p:cNvSpPr/>
          <p:nvPr/>
        </p:nvSpPr>
        <p:spPr>
          <a:xfrm>
            <a:off x="9540950" y="16297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cxnSp>
        <p:nvCxnSpPr>
          <p:cNvPr id="209" name="Gerade Verbindung 94"/>
          <p:cNvCxnSpPr/>
          <p:nvPr/>
        </p:nvCxnSpPr>
        <p:spPr>
          <a:xfrm>
            <a:off x="10548240" y="177301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94"/>
          <p:cNvCxnSpPr/>
          <p:nvPr/>
        </p:nvCxnSpPr>
        <p:spPr>
          <a:xfrm>
            <a:off x="10404220" y="177301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echteck 210"/>
          <p:cNvSpPr/>
          <p:nvPr/>
        </p:nvSpPr>
        <p:spPr>
          <a:xfrm>
            <a:off x="10404220" y="162899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218" name="Gerade Verbindung 94"/>
          <p:cNvCxnSpPr/>
          <p:nvPr/>
        </p:nvCxnSpPr>
        <p:spPr>
          <a:xfrm>
            <a:off x="10116220" y="17730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Gerade Verbindung 94"/>
          <p:cNvCxnSpPr/>
          <p:nvPr/>
        </p:nvCxnSpPr>
        <p:spPr>
          <a:xfrm>
            <a:off x="9972200" y="17730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Rechteck 223"/>
          <p:cNvSpPr/>
          <p:nvPr/>
        </p:nvSpPr>
        <p:spPr>
          <a:xfrm>
            <a:off x="9900220" y="1629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954019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925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106923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1040421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9972350" y="1485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9540220" y="1917020"/>
            <a:ext cx="14402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9972220" y="1917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10404200" y="1917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9540220" y="2133020"/>
            <a:ext cx="14402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9972220" y="21330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10404200" y="21330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954108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244" name="Rechteck 243"/>
          <p:cNvSpPr/>
          <p:nvPr/>
        </p:nvSpPr>
        <p:spPr>
          <a:xfrm>
            <a:off x="10404350" y="19882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917000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9972350" y="19882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954022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247" name="Rechteck 246"/>
          <p:cNvSpPr/>
          <p:nvPr/>
        </p:nvSpPr>
        <p:spPr>
          <a:xfrm>
            <a:off x="10403490" y="22042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640000</a:t>
            </a:r>
          </a:p>
        </p:txBody>
      </p:sp>
      <p:sp>
        <p:nvSpPr>
          <p:cNvPr id="248" name="Rechteck 247"/>
          <p:cNvSpPr/>
          <p:nvPr/>
        </p:nvSpPr>
        <p:spPr>
          <a:xfrm>
            <a:off x="9971490" y="22042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250" name="Rechteck 249"/>
          <p:cNvSpPr/>
          <p:nvPr/>
        </p:nvSpPr>
        <p:spPr>
          <a:xfrm>
            <a:off x="903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9036000" y="3860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211020" y="4436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9036000" y="4436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283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2196000" y="3572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2196000" y="37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4212000" y="3572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12000" y="263696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tx1"/>
                </a:solidFill>
              </a:rPr>
              <a:t>Faintly colored bars </a:t>
            </a:r>
            <a:r>
              <a:rPr lang="en-US" sz="1000" dirty="0" err="1">
                <a:solidFill>
                  <a:schemeClr val="tx1"/>
                </a:solidFill>
              </a:rPr>
              <a:t>repre</a:t>
            </a:r>
            <a:r>
              <a:rPr lang="en-US" sz="1000" dirty="0">
                <a:solidFill>
                  <a:schemeClr val="tx1"/>
                </a:solidFill>
              </a:rPr>
              <a:t>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nt current row in tabl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2411780" y="2637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tx1"/>
                </a:solidFill>
              </a:rPr>
              <a:t>Faintly colored bars </a:t>
            </a:r>
            <a:r>
              <a:rPr lang="en-US" sz="1000" dirty="0" err="1">
                <a:solidFill>
                  <a:schemeClr val="tx1"/>
                </a:solidFill>
              </a:rPr>
              <a:t>repre</a:t>
            </a:r>
            <a:r>
              <a:rPr lang="en-US" sz="1000" dirty="0">
                <a:solidFill>
                  <a:schemeClr val="tx1"/>
                </a:solidFill>
              </a:rPr>
              <a:t>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nt current row in tabl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427780" y="26370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tx1"/>
                </a:solidFill>
              </a:rPr>
              <a:t>Faintly colored bars </a:t>
            </a:r>
            <a:r>
              <a:rPr lang="en-US" sz="1000" dirty="0" err="1">
                <a:solidFill>
                  <a:schemeClr val="tx1"/>
                </a:solidFill>
              </a:rPr>
              <a:t>repre</a:t>
            </a:r>
            <a:r>
              <a:rPr lang="en-US" sz="1000" dirty="0">
                <a:solidFill>
                  <a:schemeClr val="tx1"/>
                </a:solidFill>
              </a:rPr>
              <a:t>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nt current row in tabl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257" name="Rechteck 256"/>
          <p:cNvSpPr/>
          <p:nvPr/>
        </p:nvSpPr>
        <p:spPr>
          <a:xfrm>
            <a:off x="9252980" y="3285000"/>
            <a:ext cx="1584220" cy="1439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Stockholm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{ Population, Country }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917000, SE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Oslo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{ Country, Population}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NO, 640000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2, Oslo, {5,-3}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NO, 640000 }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227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6" name="Gerade Verbindung 94"/>
          <p:cNvCxnSpPr/>
          <p:nvPr/>
        </p:nvCxnSpPr>
        <p:spPr>
          <a:xfrm>
            <a:off x="6227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Gerade Verbindung 94"/>
          <p:cNvCxnSpPr/>
          <p:nvPr/>
        </p:nvCxnSpPr>
        <p:spPr>
          <a:xfrm>
            <a:off x="6659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Gerade Verbindung 94"/>
          <p:cNvCxnSpPr/>
          <p:nvPr/>
        </p:nvCxnSpPr>
        <p:spPr>
          <a:xfrm>
            <a:off x="6515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Rechteck 268"/>
          <p:cNvSpPr/>
          <p:nvPr/>
        </p:nvSpPr>
        <p:spPr>
          <a:xfrm>
            <a:off x="6227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71" name="Rechteck 270"/>
          <p:cNvSpPr/>
          <p:nvPr/>
        </p:nvSpPr>
        <p:spPr>
          <a:xfrm>
            <a:off x="6227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column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73" name="Rechteck 272"/>
          <p:cNvSpPr/>
          <p:nvPr/>
        </p:nvSpPr>
        <p:spPr>
          <a:xfrm>
            <a:off x="6515970" y="16290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4" name="Rechteck 273"/>
          <p:cNvSpPr/>
          <p:nvPr/>
        </p:nvSpPr>
        <p:spPr>
          <a:xfrm>
            <a:off x="6227780" y="3285300"/>
            <a:ext cx="1584220" cy="1511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:'C*', 2 ]	[ :'C*'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tockholm, SE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:City, -15 ]	 [ :City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Oslo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:'*', 8 ]	 [ :'*‘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Reads entire row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:‘()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xPü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amp;’, 8 ]	[ :‘()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xPü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amp;’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mpty set (no match)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5" name="Gerade Verbindung 94"/>
          <p:cNvCxnSpPr/>
          <p:nvPr/>
        </p:nvCxnSpPr>
        <p:spPr>
          <a:xfrm>
            <a:off x="7091240" y="17723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Gerade Verbindung 94"/>
          <p:cNvCxnSpPr/>
          <p:nvPr/>
        </p:nvCxnSpPr>
        <p:spPr>
          <a:xfrm>
            <a:off x="6947220" y="17723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7" name="Rechteck 276"/>
          <p:cNvSpPr/>
          <p:nvPr/>
        </p:nvSpPr>
        <p:spPr>
          <a:xfrm>
            <a:off x="6875240" y="16283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515210" y="148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227020" y="148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7667370" y="148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81" name="Rechteck 280"/>
          <p:cNvSpPr/>
          <p:nvPr/>
        </p:nvSpPr>
        <p:spPr>
          <a:xfrm>
            <a:off x="6947370" y="14843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82" name="Rechteck 281"/>
          <p:cNvSpPr/>
          <p:nvPr/>
        </p:nvSpPr>
        <p:spPr>
          <a:xfrm>
            <a:off x="6515240" y="19163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947240" y="19163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15240" y="21323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7240" y="21323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516100" y="1988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947370" y="19875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515240" y="220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946510" y="22035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290" name="Rechteck 289"/>
          <p:cNvSpPr/>
          <p:nvPr/>
        </p:nvSpPr>
        <p:spPr>
          <a:xfrm>
            <a:off x="680396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659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651596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6947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9196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235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379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7523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7667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371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22796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6012000" y="37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1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67985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Full and Partial Table Specification – Vertical Acces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611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611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1043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899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611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611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o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4275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4275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8596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7156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4275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4275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o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7157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54" name="Rechteck 53"/>
          <p:cNvSpPr/>
          <p:nvPr/>
        </p:nvSpPr>
        <p:spPr>
          <a:xfrm>
            <a:off x="611780" y="3285300"/>
            <a:ext cx="1584220" cy="1079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2, 2..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8..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ountry, 0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Population, 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6, 10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0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0.. ]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11710" y="177343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0" name="Gerade Verbindung 94"/>
          <p:cNvCxnSpPr/>
          <p:nvPr/>
        </p:nvCxnSpPr>
        <p:spPr>
          <a:xfrm>
            <a:off x="2411710" y="184544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94"/>
          <p:cNvCxnSpPr/>
          <p:nvPr/>
        </p:nvCxnSpPr>
        <p:spPr>
          <a:xfrm>
            <a:off x="284377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94"/>
          <p:cNvCxnSpPr/>
          <p:nvPr/>
        </p:nvCxnSpPr>
        <p:spPr>
          <a:xfrm>
            <a:off x="269975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2411710" y="981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41171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o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row 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411710" y="328563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2,5,8,10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-18,5,8,10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Set of 4 element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City, {10,8,2,5}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Set of 4 elements with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 different arrangement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Country, {NO, SE }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Returns row numbers</a:t>
            </a:r>
          </a:p>
        </p:txBody>
      </p:sp>
      <p:sp>
        <p:nvSpPr>
          <p:cNvPr id="82" name="Rechteck 81"/>
          <p:cNvSpPr/>
          <p:nvPr/>
        </p:nvSpPr>
        <p:spPr>
          <a:xfrm>
            <a:off x="2700060" y="162934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6798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6798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46798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175" name="Rechteck 174"/>
          <p:cNvSpPr/>
          <p:nvPr/>
        </p:nvSpPr>
        <p:spPr>
          <a:xfrm>
            <a:off x="4283950" y="17736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4283950" y="21337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4283950" y="31418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71" name="Rechteck 70"/>
          <p:cNvSpPr/>
          <p:nvPr/>
        </p:nvSpPr>
        <p:spPr>
          <a:xfrm>
            <a:off x="468000" y="2348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 / -12</a:t>
            </a:r>
          </a:p>
        </p:txBody>
      </p:sp>
      <p:sp>
        <p:nvSpPr>
          <p:cNvPr id="74" name="Rechteck 73"/>
          <p:cNvSpPr/>
          <p:nvPr/>
        </p:nvSpPr>
        <p:spPr>
          <a:xfrm>
            <a:off x="467980" y="2492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 / -10</a:t>
            </a:r>
          </a:p>
        </p:txBody>
      </p:sp>
      <p:sp>
        <p:nvSpPr>
          <p:cNvPr id="75" name="Rechteck 74"/>
          <p:cNvSpPr/>
          <p:nvPr/>
        </p:nvSpPr>
        <p:spPr>
          <a:xfrm>
            <a:off x="468000" y="1916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39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9600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96000" y="3573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00" y="37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38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396000" y="4149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7" name="Gerade Verbindung 94"/>
          <p:cNvCxnSpPr/>
          <p:nvPr/>
        </p:nvCxnSpPr>
        <p:spPr>
          <a:xfrm>
            <a:off x="19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94"/>
          <p:cNvCxnSpPr/>
          <p:nvPr/>
        </p:nvCxnSpPr>
        <p:spPr>
          <a:xfrm>
            <a:off x="1763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94"/>
          <p:cNvCxnSpPr/>
          <p:nvPr/>
        </p:nvCxnSpPr>
        <p:spPr>
          <a:xfrm>
            <a:off x="370704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94"/>
          <p:cNvCxnSpPr/>
          <p:nvPr/>
        </p:nvCxnSpPr>
        <p:spPr>
          <a:xfrm>
            <a:off x="3563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hteck 130"/>
          <p:cNvSpPr/>
          <p:nvPr/>
        </p:nvSpPr>
        <p:spPr>
          <a:xfrm>
            <a:off x="3563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166" name="Rechteck 165"/>
          <p:cNvSpPr/>
          <p:nvPr/>
        </p:nvSpPr>
        <p:spPr>
          <a:xfrm>
            <a:off x="2195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94"/>
          <p:cNvCxnSpPr/>
          <p:nvPr/>
        </p:nvCxnSpPr>
        <p:spPr>
          <a:xfrm>
            <a:off x="572304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/>
          <p:cNvCxnSpPr/>
          <p:nvPr/>
        </p:nvCxnSpPr>
        <p:spPr>
          <a:xfrm>
            <a:off x="557902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579020" y="16289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173" name="Gerade Verbindung 94"/>
          <p:cNvCxnSpPr/>
          <p:nvPr/>
        </p:nvCxnSpPr>
        <p:spPr>
          <a:xfrm>
            <a:off x="5291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 Verbindung 94"/>
          <p:cNvCxnSpPr/>
          <p:nvPr/>
        </p:nvCxnSpPr>
        <p:spPr>
          <a:xfrm>
            <a:off x="5147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/>
          <p:cNvSpPr/>
          <p:nvPr/>
        </p:nvSpPr>
        <p:spPr>
          <a:xfrm>
            <a:off x="5075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269921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241102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385137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2" name="Rechteck 181"/>
          <p:cNvSpPr/>
          <p:nvPr/>
        </p:nvSpPr>
        <p:spPr>
          <a:xfrm>
            <a:off x="356323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471499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4" name="Rechteck 183"/>
          <p:cNvSpPr/>
          <p:nvPr/>
        </p:nvSpPr>
        <p:spPr>
          <a:xfrm>
            <a:off x="442680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5" name="Rechteck 184"/>
          <p:cNvSpPr/>
          <p:nvPr/>
        </p:nvSpPr>
        <p:spPr>
          <a:xfrm>
            <a:off x="586715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5579018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51471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58" name="Rechteck 257"/>
          <p:cNvSpPr/>
          <p:nvPr/>
        </p:nvSpPr>
        <p:spPr>
          <a:xfrm>
            <a:off x="4283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900600" y="16297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1763870" y="162899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1259870" y="1629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89984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6116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57" name="Rechteck 256"/>
          <p:cNvSpPr/>
          <p:nvPr/>
        </p:nvSpPr>
        <p:spPr>
          <a:xfrm>
            <a:off x="205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59" name="Rechteck 258"/>
          <p:cNvSpPr/>
          <p:nvPr/>
        </p:nvSpPr>
        <p:spPr>
          <a:xfrm>
            <a:off x="176386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1332000" y="1485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900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90000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89998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89998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899980" y="220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899980" y="227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899980" y="234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899980" y="242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899980" y="249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1764000" y="184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764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764000" y="1989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764000" y="2061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76400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332000" y="1773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332000" y="1845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332000" y="1917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332000" y="1989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332000" y="213299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332000" y="2061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133200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1332000" y="2565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1331980" y="263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1331960" y="270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0" name="Rechteck 309"/>
          <p:cNvSpPr/>
          <p:nvPr/>
        </p:nvSpPr>
        <p:spPr>
          <a:xfrm>
            <a:off x="1331940" y="278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1331920" y="285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1331900" y="2925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/>
          <p:cNvSpPr/>
          <p:nvPr/>
        </p:nvSpPr>
        <p:spPr>
          <a:xfrm>
            <a:off x="1331980" y="299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1331860" y="306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133184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396000" y="4005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12000" y="1845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612000" y="1917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12000" y="1989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12000" y="2061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12000" y="2133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12000" y="2205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12000" y="2277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12000" y="2349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12000" y="2421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12000" y="2493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12000" y="2565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12000" y="2637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12000" y="2709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12000" y="2781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612000" y="2853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612000" y="2925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612000" y="2997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612000" y="3069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612000" y="314099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2051980" y="1845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051980" y="1917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2051980" y="1989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051980" y="2061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2051980" y="2133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2051980" y="2205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2051980" y="2277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2051980" y="2349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2051980" y="2421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051980" y="2493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2051980" y="2565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2051980" y="2637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051980" y="2709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2051980" y="2781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2051980" y="2853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051980" y="2925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051980" y="2997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2051980" y="3069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2051980" y="314099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2052000" y="1773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2699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69996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699960" y="234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2699960" y="249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94"/>
          <p:cNvCxnSpPr/>
          <p:nvPr/>
        </p:nvCxnSpPr>
        <p:spPr>
          <a:xfrm>
            <a:off x="327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94"/>
          <p:cNvCxnSpPr/>
          <p:nvPr/>
        </p:nvCxnSpPr>
        <p:spPr>
          <a:xfrm>
            <a:off x="313198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7" name="Rechteck 376"/>
          <p:cNvSpPr/>
          <p:nvPr/>
        </p:nvSpPr>
        <p:spPr>
          <a:xfrm>
            <a:off x="306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378" name="Rechteck 377"/>
          <p:cNvSpPr/>
          <p:nvPr/>
        </p:nvSpPr>
        <p:spPr>
          <a:xfrm>
            <a:off x="313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2195980" y="34374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2195980" y="37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2196000" y="4149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3132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313200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13213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85" name="Rechteck 384"/>
          <p:cNvSpPr/>
          <p:nvPr/>
        </p:nvSpPr>
        <p:spPr>
          <a:xfrm>
            <a:off x="313127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386" name="Rechteck 385"/>
          <p:cNvSpPr/>
          <p:nvPr/>
        </p:nvSpPr>
        <p:spPr>
          <a:xfrm>
            <a:off x="471602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471600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71686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471600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4716000" y="2492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4716000" y="256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uttgart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4427780" y="328499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‘St*'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tockholm, Stuttgart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Country, :SE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E, SE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Population, :</a:t>
            </a:r>
            <a:r>
              <a:rPr lang="en-US" sz="1000" dirty="0">
                <a:solidFill>
                  <a:schemeClr val="tx1"/>
                </a:solidFill>
              </a:rPr>
              <a:t>'*' 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Returns entire column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212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211980" y="37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148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14800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5148000" y="285298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5148000" y="292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5579980" y="198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579980" y="213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579980" y="2205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5579980" y="227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5579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5579980" y="242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557998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579980" y="2565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579980" y="263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5579980" y="270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5579980" y="278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5579980" y="285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5579980" y="2925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579980" y="299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579980" y="306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557998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5580000" y="1845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212000" y="407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611780" y="4724232"/>
            <a:ext cx="1584220" cy="1079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2, 2..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-18..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ountry, 0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Population, 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6, 10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0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1, 0.. ]</a:t>
            </a:r>
          </a:p>
        </p:txBody>
      </p:sp>
      <p:sp>
        <p:nvSpPr>
          <p:cNvPr id="190" name="Rechteck 189"/>
          <p:cNvSpPr/>
          <p:nvPr/>
        </p:nvSpPr>
        <p:spPr>
          <a:xfrm>
            <a:off x="2411710" y="4724571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{2,5,8,10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{-18,5,8,10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Set of 4 element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City, {10,8,2,5}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Set of 4 elements with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 different arrangement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 Country, {NO, SE }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Returns row numbers</a:t>
            </a:r>
          </a:p>
        </p:txBody>
      </p:sp>
      <p:sp>
        <p:nvSpPr>
          <p:cNvPr id="191" name="Rechteck 190"/>
          <p:cNvSpPr/>
          <p:nvPr/>
        </p:nvSpPr>
        <p:spPr>
          <a:xfrm>
            <a:off x="396000" y="4723932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396000" y="4867932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396000" y="5011932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00" y="5155932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396000" y="5299932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396000" y="5587932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195020" y="4723932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396000" y="5443932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195980" y="4876332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2195980" y="5155922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196000" y="5587932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780" y="4723931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:‘St*'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tockholm, Stuttgart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Country, :SE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E, SE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 Population, :</a:t>
            </a:r>
            <a:r>
              <a:rPr lang="en-US" sz="1000" dirty="0">
                <a:solidFill>
                  <a:schemeClr val="tx1"/>
                </a:solidFill>
              </a:rPr>
              <a:t>'*' 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Returns entire column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4212000" y="4723932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4211980" y="5155932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4212000" y="5515932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31926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Full and Partial Table Specification – Matrix Acces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611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611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1043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899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611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611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o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4275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2" name="Gerade Verbindung 94"/>
          <p:cNvCxnSpPr/>
          <p:nvPr/>
        </p:nvCxnSpPr>
        <p:spPr>
          <a:xfrm>
            <a:off x="48596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7156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4275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 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4275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column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7157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54" name="Rechteck 53"/>
          <p:cNvSpPr/>
          <p:nvPr/>
        </p:nvSpPr>
        <p:spPr>
          <a:xfrm>
            <a:off x="611780" y="3285300"/>
            <a:ext cx="1584220" cy="1079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2..5, 2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City..Country</a:t>
            </a:r>
            <a:r>
              <a:rPr lang="en-US" sz="1000" dirty="0">
                <a:solidFill>
                  <a:schemeClr val="tx1"/>
                </a:solidFill>
              </a:rPr>
              <a:t>, 2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2.., -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1, ..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8..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..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ntire table excl. headers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0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ntire table incl. headers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2411710" y="177343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0" name="Gerade Verbindung 94"/>
          <p:cNvCxnSpPr/>
          <p:nvPr/>
        </p:nvCxnSpPr>
        <p:spPr>
          <a:xfrm>
            <a:off x="2411710" y="184544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94"/>
          <p:cNvCxnSpPr/>
          <p:nvPr/>
        </p:nvCxnSpPr>
        <p:spPr>
          <a:xfrm>
            <a:off x="284377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94"/>
          <p:cNvCxnSpPr/>
          <p:nvPr/>
        </p:nvCxnSpPr>
        <p:spPr>
          <a:xfrm>
            <a:off x="269975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2411710" y="981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41171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row 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411710" y="328563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City, Country},{2,5,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2,5}, {-18,-15} ]</a:t>
            </a: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à"/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Set of 2x2 element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{{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Stockholm,SE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},{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Oslo,NO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}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{2, 5}, {Oslo, NO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xceptional case.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Returns row number of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1</a:t>
            </a:r>
            <a:r>
              <a:rPr lang="en-US" sz="10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st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match, here: 5</a:t>
            </a:r>
          </a:p>
        </p:txBody>
      </p:sp>
      <p:sp>
        <p:nvSpPr>
          <p:cNvPr id="82" name="Rechteck 81"/>
          <p:cNvSpPr/>
          <p:nvPr/>
        </p:nvSpPr>
        <p:spPr>
          <a:xfrm>
            <a:off x="2700060" y="162934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6798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6798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46798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175" name="Rechteck 174"/>
          <p:cNvSpPr/>
          <p:nvPr/>
        </p:nvSpPr>
        <p:spPr>
          <a:xfrm>
            <a:off x="4283950" y="17736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4283950" y="21337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4283950" y="31418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71" name="Rechteck 70"/>
          <p:cNvSpPr/>
          <p:nvPr/>
        </p:nvSpPr>
        <p:spPr>
          <a:xfrm>
            <a:off x="468000" y="2348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 / -12</a:t>
            </a:r>
          </a:p>
        </p:txBody>
      </p:sp>
      <p:sp>
        <p:nvSpPr>
          <p:cNvPr id="74" name="Rechteck 73"/>
          <p:cNvSpPr/>
          <p:nvPr/>
        </p:nvSpPr>
        <p:spPr>
          <a:xfrm>
            <a:off x="467980" y="2492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 / -10</a:t>
            </a:r>
          </a:p>
        </p:txBody>
      </p:sp>
      <p:sp>
        <p:nvSpPr>
          <p:cNvPr id="75" name="Rechteck 74"/>
          <p:cNvSpPr/>
          <p:nvPr/>
        </p:nvSpPr>
        <p:spPr>
          <a:xfrm>
            <a:off x="468000" y="1916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39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9600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96000" y="3573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00" y="37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38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7" name="Gerade Verbindung 94"/>
          <p:cNvCxnSpPr/>
          <p:nvPr/>
        </p:nvCxnSpPr>
        <p:spPr>
          <a:xfrm>
            <a:off x="19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94"/>
          <p:cNvCxnSpPr/>
          <p:nvPr/>
        </p:nvCxnSpPr>
        <p:spPr>
          <a:xfrm>
            <a:off x="1763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94"/>
          <p:cNvCxnSpPr/>
          <p:nvPr/>
        </p:nvCxnSpPr>
        <p:spPr>
          <a:xfrm>
            <a:off x="370704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94"/>
          <p:cNvCxnSpPr/>
          <p:nvPr/>
        </p:nvCxnSpPr>
        <p:spPr>
          <a:xfrm>
            <a:off x="3563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hteck 130"/>
          <p:cNvSpPr/>
          <p:nvPr/>
        </p:nvSpPr>
        <p:spPr>
          <a:xfrm>
            <a:off x="3563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166" name="Rechteck 165"/>
          <p:cNvSpPr/>
          <p:nvPr/>
        </p:nvSpPr>
        <p:spPr>
          <a:xfrm>
            <a:off x="2195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94"/>
          <p:cNvCxnSpPr/>
          <p:nvPr/>
        </p:nvCxnSpPr>
        <p:spPr>
          <a:xfrm>
            <a:off x="572304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/>
          <p:cNvCxnSpPr/>
          <p:nvPr/>
        </p:nvCxnSpPr>
        <p:spPr>
          <a:xfrm>
            <a:off x="557902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579020" y="16289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173" name="Gerade Verbindung 94"/>
          <p:cNvCxnSpPr/>
          <p:nvPr/>
        </p:nvCxnSpPr>
        <p:spPr>
          <a:xfrm>
            <a:off x="5291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 Verbindung 94"/>
          <p:cNvCxnSpPr/>
          <p:nvPr/>
        </p:nvCxnSpPr>
        <p:spPr>
          <a:xfrm>
            <a:off x="5147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/>
          <p:cNvSpPr/>
          <p:nvPr/>
        </p:nvSpPr>
        <p:spPr>
          <a:xfrm>
            <a:off x="5075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269921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241102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385137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2" name="Rechteck 181"/>
          <p:cNvSpPr/>
          <p:nvPr/>
        </p:nvSpPr>
        <p:spPr>
          <a:xfrm>
            <a:off x="356323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471499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4" name="Rechteck 183"/>
          <p:cNvSpPr/>
          <p:nvPr/>
        </p:nvSpPr>
        <p:spPr>
          <a:xfrm>
            <a:off x="442680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5" name="Rechteck 184"/>
          <p:cNvSpPr/>
          <p:nvPr/>
        </p:nvSpPr>
        <p:spPr>
          <a:xfrm>
            <a:off x="586715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5579018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51471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58" name="Rechteck 257"/>
          <p:cNvSpPr/>
          <p:nvPr/>
        </p:nvSpPr>
        <p:spPr>
          <a:xfrm>
            <a:off x="4283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900600" y="16297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1763870" y="162899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1259870" y="1629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89984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6116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57" name="Rechteck 256"/>
          <p:cNvSpPr/>
          <p:nvPr/>
        </p:nvSpPr>
        <p:spPr>
          <a:xfrm>
            <a:off x="205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59" name="Rechteck 258"/>
          <p:cNvSpPr/>
          <p:nvPr/>
        </p:nvSpPr>
        <p:spPr>
          <a:xfrm>
            <a:off x="176386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1332000" y="1485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cxnSp>
        <p:nvCxnSpPr>
          <p:cNvPr id="375" name="Gerade Verbindung 94"/>
          <p:cNvCxnSpPr/>
          <p:nvPr/>
        </p:nvCxnSpPr>
        <p:spPr>
          <a:xfrm>
            <a:off x="327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94"/>
          <p:cNvCxnSpPr/>
          <p:nvPr/>
        </p:nvCxnSpPr>
        <p:spPr>
          <a:xfrm>
            <a:off x="313198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7" name="Rechteck 376"/>
          <p:cNvSpPr/>
          <p:nvPr/>
        </p:nvSpPr>
        <p:spPr>
          <a:xfrm>
            <a:off x="306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378" name="Rechteck 377"/>
          <p:cNvSpPr/>
          <p:nvPr/>
        </p:nvSpPr>
        <p:spPr>
          <a:xfrm>
            <a:off x="313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2195980" y="34374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4427780" y="328499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C*', :'St*'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{ Stockholm, SE}, {Stuttgart, DE} }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( Still difficult to define )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212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94"/>
          <p:cNvCxnSpPr/>
          <p:nvPr/>
        </p:nvCxnSpPr>
        <p:spPr>
          <a:xfrm>
            <a:off x="147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Gerade Verbindung 94"/>
          <p:cNvCxnSpPr/>
          <p:nvPr/>
        </p:nvCxnSpPr>
        <p:spPr>
          <a:xfrm>
            <a:off x="1331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Rechteck 207"/>
          <p:cNvSpPr/>
          <p:nvPr/>
        </p:nvSpPr>
        <p:spPr>
          <a:xfrm>
            <a:off x="899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1043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188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332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90000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104400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18802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133202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89996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104396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118798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133198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89992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104392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118794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133194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052000" y="3141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052000" y="3069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1908000" y="3141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1908000" y="3069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12000" y="184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56000" y="184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12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56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612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612000" y="242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61200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56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56000" y="242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75600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900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900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900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04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044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044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18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188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188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332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332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332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6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6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6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1620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1620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620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176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1764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1764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190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4" name="Rechteck 303"/>
          <p:cNvSpPr/>
          <p:nvPr/>
        </p:nvSpPr>
        <p:spPr>
          <a:xfrm>
            <a:off x="1908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1908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2052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9" name="Rechteck 308"/>
          <p:cNvSpPr/>
          <p:nvPr/>
        </p:nvSpPr>
        <p:spPr>
          <a:xfrm>
            <a:off x="2052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2052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2700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3" name="Rechteck 312"/>
          <p:cNvSpPr/>
          <p:nvPr/>
        </p:nvSpPr>
        <p:spPr>
          <a:xfrm>
            <a:off x="3131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270000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13198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13213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17" name="Rechteck 316"/>
          <p:cNvSpPr/>
          <p:nvPr/>
        </p:nvSpPr>
        <p:spPr>
          <a:xfrm>
            <a:off x="313127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318" name="Rechteck 317"/>
          <p:cNvSpPr/>
          <p:nvPr/>
        </p:nvSpPr>
        <p:spPr>
          <a:xfrm>
            <a:off x="270013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319" name="Rechteck 318"/>
          <p:cNvSpPr/>
          <p:nvPr/>
        </p:nvSpPr>
        <p:spPr>
          <a:xfrm>
            <a:off x="269927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320" name="Rechteck 319"/>
          <p:cNvSpPr/>
          <p:nvPr/>
        </p:nvSpPr>
        <p:spPr>
          <a:xfrm>
            <a:off x="4716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5147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4" name="Rechteck 323"/>
          <p:cNvSpPr/>
          <p:nvPr/>
        </p:nvSpPr>
        <p:spPr>
          <a:xfrm>
            <a:off x="471600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514798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514813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27" name="Rechteck 326"/>
          <p:cNvSpPr/>
          <p:nvPr/>
        </p:nvSpPr>
        <p:spPr>
          <a:xfrm>
            <a:off x="514727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417" name="Rechteck 416"/>
          <p:cNvSpPr/>
          <p:nvPr/>
        </p:nvSpPr>
        <p:spPr>
          <a:xfrm>
            <a:off x="471613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420" name="Rechteck 419"/>
          <p:cNvSpPr/>
          <p:nvPr/>
        </p:nvSpPr>
        <p:spPr>
          <a:xfrm>
            <a:off x="471527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421" name="Rechteck 420"/>
          <p:cNvSpPr/>
          <p:nvPr/>
        </p:nvSpPr>
        <p:spPr>
          <a:xfrm>
            <a:off x="4716000" y="2492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4716000" y="256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uttgart</a:t>
            </a:r>
          </a:p>
        </p:txBody>
      </p:sp>
      <p:sp>
        <p:nvSpPr>
          <p:cNvPr id="423" name="Rechteck 422"/>
          <p:cNvSpPr/>
          <p:nvPr/>
        </p:nvSpPr>
        <p:spPr>
          <a:xfrm>
            <a:off x="5148710" y="24937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5148000" y="256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E</a:t>
            </a:r>
          </a:p>
        </p:txBody>
      </p:sp>
    </p:spTree>
    <p:extLst>
      <p:ext uri="{BB962C8B-B14F-4D97-AF65-F5344CB8AC3E}">
        <p14:creationId xmlns:p14="http://schemas.microsoft.com/office/powerpoint/2010/main" val="286939451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rapidly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9" name="Rechteck 118"/>
          <p:cNvSpPr/>
          <p:nvPr/>
        </p:nvSpPr>
        <p:spPr>
          <a:xfrm>
            <a:off x="395536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547664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547664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2195736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2195736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547664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2195736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547664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2195736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547664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547664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547664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2195736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395536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547664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2195736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821281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548128" y="38608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548128" y="40768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196200" y="38608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2196200" y="40768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548128" y="36448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2196200" y="36448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548128" y="42928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2196200" y="42928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548128" y="508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548128" y="530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548128" y="486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2196200" y="486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548128" y="551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2196200" y="5084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821745" y="39559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396000" y="5084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4068080" y="386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4068080" y="407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716152" y="386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716152" y="4077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068080" y="364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716152" y="364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4068080" y="429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716152" y="4293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348000" y="39330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a  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leasing</a:t>
            </a:r>
          </a:p>
        </p:txBody>
      </p:sp>
      <p:sp>
        <p:nvSpPr>
          <p:cNvPr id="32" name="Rechteck 31"/>
          <p:cNvSpPr/>
          <p:nvPr/>
        </p:nvSpPr>
        <p:spPr>
          <a:xfrm>
            <a:off x="1548128" y="36448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38608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36448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38608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42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42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0768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0768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4868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084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465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465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300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4868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37399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084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364904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085000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4868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084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30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u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7" name="Gerade Verbindung mit Pfeil 106"/>
          <p:cNvCxnSpPr/>
          <p:nvPr/>
        </p:nvCxnSpPr>
        <p:spPr>
          <a:xfrm flipV="1">
            <a:off x="3276000" y="2997000"/>
            <a:ext cx="0" cy="648000"/>
          </a:xfrm>
          <a:prstGeom prst="straightConnector1">
            <a:avLst/>
          </a:prstGeom>
          <a:ln>
            <a:solidFill>
              <a:srgbClr val="0000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b[ 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9828</Words>
  <Application>Microsoft Office PowerPoint</Application>
  <PresentationFormat>Bildschirmpräsentation (4:3)</PresentationFormat>
  <Paragraphs>2651</Paragraphs>
  <Slides>59</Slides>
  <Notes>3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9</vt:i4>
      </vt:variant>
    </vt:vector>
  </HeadingPairs>
  <TitlesOfParts>
    <vt:vector size="65" baseType="lpstr">
      <vt:lpstr>Arial</vt:lpstr>
      <vt:lpstr>Arial Black</vt:lpstr>
      <vt:lpstr>Calibri</vt:lpstr>
      <vt:lpstr>Wingdings</vt:lpstr>
      <vt:lpstr>Neutrale Formatvorlage</vt:lpstr>
      <vt:lpstr>think-cell Slide</vt:lpstr>
      <vt:lpstr>Transaction Model</vt:lpstr>
      <vt:lpstr>Transaction Model</vt:lpstr>
      <vt:lpstr>Transaction Model</vt:lpstr>
      <vt:lpstr>Exception Model</vt:lpstr>
      <vt:lpstr>Storage Model</vt:lpstr>
      <vt:lpstr>References to Variables Example 1 and 2</vt:lpstr>
      <vt:lpstr>References to Variables</vt:lpstr>
      <vt:lpstr>References to Variables</vt:lpstr>
      <vt:lpstr>References to Variables Members in Structures</vt:lpstr>
      <vt:lpstr>References to Variables Members in Arrays</vt:lpstr>
      <vt:lpstr>References to Variables</vt:lpstr>
      <vt:lpstr>Storage Model</vt:lpstr>
      <vt:lpstr>Storage Model</vt:lpstr>
      <vt:lpstr>Table Comparison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Deep Operators</vt:lpstr>
      <vt:lpstr>File Copy Multiple / Directorie</vt:lpstr>
      <vt:lpstr>Function Calling Hierarchy to access variables (Internal)</vt:lpstr>
      <vt:lpstr>Vertical Operations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</vt:lpstr>
      <vt:lpstr>Accessing Tables Full Table Specification – Horizontal Access</vt:lpstr>
      <vt:lpstr>Accessing Tables Partial Table Specification – Horizontal Access</vt:lpstr>
      <vt:lpstr>Accessing Tables Full and Partial Table Specification – Vertical Access</vt:lpstr>
      <vt:lpstr>Accessing Tables Full and Partial Table Specification – Matrix Access</vt:lpstr>
      <vt:lpstr>Table Process – Output Models</vt:lpstr>
      <vt:lpstr>Interpolation Function – Nearest Neighbor</vt:lpstr>
      <vt:lpstr>Interpolation Function - Linear</vt:lpstr>
      <vt:lpstr>Interpolation Function – Cubic Spl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457</cp:revision>
  <cp:lastPrinted>2014-03-14T08:12:43Z</cp:lastPrinted>
  <dcterms:created xsi:type="dcterms:W3CDTF">2013-11-22T07:35:27Z</dcterms:created>
  <dcterms:modified xsi:type="dcterms:W3CDTF">2020-10-04T18:19:43Z</dcterms:modified>
</cp:coreProperties>
</file>